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426" r:id="rId5"/>
    <p:sldId id="427" r:id="rId15"/>
    <p:sldId id="428" r:id="rId16"/>
    <p:sldId id="429" r:id="rId17"/>
    <p:sldId id="430" r:id="rId18"/>
  </p:sldIdLst>
  <p:sldSz cx="12192000" cy="6858000"/>
  <p:notesSz cx="6858000" cy="9144000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halt" id="{899E7F68-A5A5-41B3-9ACC-E4E40E3E56FB}">
          <p14:sldIdLst>
            <p14:sldId id="42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0F0"/>
    <a:srgbClr val="000000"/>
    <a:srgbClr val="BFBFBF"/>
    <a:srgbClr val="D9D9D9"/>
    <a:srgbClr val="4D6D8E"/>
    <a:srgbClr val="F2F2F2"/>
    <a:srgbClr val="ED8348"/>
    <a:srgbClr val="85C7CE"/>
    <a:srgbClr val="1C3658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A528AA9-69E4-48FF-B393-D6F5B7AFE608}" v="4" dt="2022-06-28T18:02:58.858"/>
    <p1510:client id="{CB36E5FC-E06D-4E72-874F-6D19D91E5E49}" v="1" dt="2022-07-14T10:29:42.2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643" autoAdjust="0"/>
    <p:restoredTop sz="86395" autoAdjust="0"/>
  </p:normalViewPr>
  <p:slideViewPr>
    <p:cSldViewPr snapToGrid="0" showGuides="1">
      <p:cViewPr varScale="1">
        <p:scale>
          <a:sx n="110" d="100"/>
          <a:sy n="110" d="100"/>
        </p:scale>
        <p:origin x="536" y="176"/>
      </p:cViewPr>
      <p:guideLst/>
    </p:cSldViewPr>
  </p:slideViewPr>
  <p:outlineViewPr>
    <p:cViewPr>
      <p:scale>
        <a:sx n="33" d="100"/>
        <a:sy n="33" d="100"/>
      </p:scale>
      <p:origin x="0" y="-2504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5748" y="102"/>
      </p:cViewPr>
      <p:guideLst/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10" Type="http://schemas.openxmlformats.org/officeDocument/2006/relationships/viewProps" Target="viewProps.xml"/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3" Type="http://schemas.microsoft.com/office/2016/11/relationships/changesInfo" Target="changesInfos/changesInfo1.xml"/><Relationship Id="rId14" Type="http://schemas.microsoft.com/office/2015/10/relationships/revisionInfo" Target="revisionInfo.xml"/><Relationship Id="rId15" Type="http://schemas.openxmlformats.org/officeDocument/2006/relationships/slide" Target="slides/slide2.xml"/><Relationship Id="rId16" Type="http://schemas.openxmlformats.org/officeDocument/2006/relationships/slide" Target="slides/slide3.xml"/><Relationship Id="rId17" Type="http://schemas.openxmlformats.org/officeDocument/2006/relationships/slide" Target="slides/slide4.xml"/><Relationship Id="rId18" Type="http://schemas.openxmlformats.org/officeDocument/2006/relationships/slide" Target="slides/slide5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c Feldkirchner" userId="c4135e70-53ec-4cd4-a1bd-4ca908459c8c" providerId="ADAL" clId="{7F9C2C8A-03C3-431A-BE04-83FBFEAB7D91}"/>
    <pc:docChg chg="undo custSel addSld delSld modSld sldOrd modSection">
      <pc:chgData name="Marc Feldkirchner" userId="c4135e70-53ec-4cd4-a1bd-4ca908459c8c" providerId="ADAL" clId="{7F9C2C8A-03C3-431A-BE04-83FBFEAB7D91}" dt="2022-03-22T16:40:13.439" v="1932" actId="47"/>
      <pc:docMkLst>
        <pc:docMk/>
      </pc:docMkLst>
      <pc:sldChg chg="modSp mod">
        <pc:chgData name="Marc Feldkirchner" userId="c4135e70-53ec-4cd4-a1bd-4ca908459c8c" providerId="ADAL" clId="{7F9C2C8A-03C3-431A-BE04-83FBFEAB7D91}" dt="2022-02-25T12:08:22.985" v="508" actId="20577"/>
        <pc:sldMkLst>
          <pc:docMk/>
          <pc:sldMk cId="3419691827" sldId="338"/>
        </pc:sldMkLst>
        <pc:spChg chg="mod">
          <ac:chgData name="Marc Feldkirchner" userId="c4135e70-53ec-4cd4-a1bd-4ca908459c8c" providerId="ADAL" clId="{7F9C2C8A-03C3-431A-BE04-83FBFEAB7D91}" dt="2022-02-25T11:46:25.142" v="41" actId="6549"/>
          <ac:spMkLst>
            <pc:docMk/>
            <pc:sldMk cId="3419691827" sldId="338"/>
            <ac:spMk id="6" creationId="{8A12327F-1131-482D-954E-894DEC9EF3F1}"/>
          </ac:spMkLst>
        </pc:spChg>
        <pc:spChg chg="mod">
          <ac:chgData name="Marc Feldkirchner" userId="c4135e70-53ec-4cd4-a1bd-4ca908459c8c" providerId="ADAL" clId="{7F9C2C8A-03C3-431A-BE04-83FBFEAB7D91}" dt="2022-02-25T12:08:22.985" v="508" actId="20577"/>
          <ac:spMkLst>
            <pc:docMk/>
            <pc:sldMk cId="3419691827" sldId="338"/>
            <ac:spMk id="45" creationId="{0B1198CB-D12B-421A-93D0-8C56312E30F4}"/>
          </ac:spMkLst>
        </pc:spChg>
        <pc:spChg chg="mod">
          <ac:chgData name="Marc Feldkirchner" userId="c4135e70-53ec-4cd4-a1bd-4ca908459c8c" providerId="ADAL" clId="{7F9C2C8A-03C3-431A-BE04-83FBFEAB7D91}" dt="2022-02-25T11:57:25.924" v="194" actId="20577"/>
          <ac:spMkLst>
            <pc:docMk/>
            <pc:sldMk cId="3419691827" sldId="338"/>
            <ac:spMk id="179" creationId="{BA596FC9-79E8-4C8F-B716-4B680640466C}"/>
          </ac:spMkLst>
        </pc:spChg>
        <pc:spChg chg="mod">
          <ac:chgData name="Marc Feldkirchner" userId="c4135e70-53ec-4cd4-a1bd-4ca908459c8c" providerId="ADAL" clId="{7F9C2C8A-03C3-431A-BE04-83FBFEAB7D91}" dt="2022-02-25T11:57:44.213" v="215" actId="20577"/>
          <ac:spMkLst>
            <pc:docMk/>
            <pc:sldMk cId="3419691827" sldId="338"/>
            <ac:spMk id="182" creationId="{BA714521-F0A9-44FA-B5A8-FD27D3EFC840}"/>
          </ac:spMkLst>
        </pc:spChg>
        <pc:spChg chg="mod">
          <ac:chgData name="Marc Feldkirchner" userId="c4135e70-53ec-4cd4-a1bd-4ca908459c8c" providerId="ADAL" clId="{7F9C2C8A-03C3-431A-BE04-83FBFEAB7D91}" dt="2022-02-25T11:58:01.575" v="260" actId="20577"/>
          <ac:spMkLst>
            <pc:docMk/>
            <pc:sldMk cId="3419691827" sldId="338"/>
            <ac:spMk id="185" creationId="{1136CD69-C074-465E-B9C4-D5F64CE0B09B}"/>
          </ac:spMkLst>
        </pc:spChg>
        <pc:spChg chg="mod">
          <ac:chgData name="Marc Feldkirchner" userId="c4135e70-53ec-4cd4-a1bd-4ca908459c8c" providerId="ADAL" clId="{7F9C2C8A-03C3-431A-BE04-83FBFEAB7D91}" dt="2022-02-25T11:58:21.806" v="328" actId="20577"/>
          <ac:spMkLst>
            <pc:docMk/>
            <pc:sldMk cId="3419691827" sldId="338"/>
            <ac:spMk id="188" creationId="{0100F361-9136-43CC-9E16-CF4F0116BC89}"/>
          </ac:spMkLst>
        </pc:spChg>
        <pc:spChg chg="mod">
          <ac:chgData name="Marc Feldkirchner" userId="c4135e70-53ec-4cd4-a1bd-4ca908459c8c" providerId="ADAL" clId="{7F9C2C8A-03C3-431A-BE04-83FBFEAB7D91}" dt="2022-02-25T11:57:48.197" v="222" actId="20577"/>
          <ac:spMkLst>
            <pc:docMk/>
            <pc:sldMk cId="3419691827" sldId="338"/>
            <ac:spMk id="191" creationId="{7ECDB696-7E06-4989-9BAE-8071ABC83A16}"/>
          </ac:spMkLst>
        </pc:spChg>
        <pc:spChg chg="mod">
          <ac:chgData name="Marc Feldkirchner" userId="c4135e70-53ec-4cd4-a1bd-4ca908459c8c" providerId="ADAL" clId="{7F9C2C8A-03C3-431A-BE04-83FBFEAB7D91}" dt="2022-02-25T11:58:06.050" v="274" actId="20577"/>
          <ac:spMkLst>
            <pc:docMk/>
            <pc:sldMk cId="3419691827" sldId="338"/>
            <ac:spMk id="194" creationId="{8BA74258-D9BE-4090-AFA9-5A9656D0DD6E}"/>
          </ac:spMkLst>
        </pc:spChg>
        <pc:spChg chg="mod">
          <ac:chgData name="Marc Feldkirchner" userId="c4135e70-53ec-4cd4-a1bd-4ca908459c8c" providerId="ADAL" clId="{7F9C2C8A-03C3-431A-BE04-83FBFEAB7D91}" dt="2022-02-25T11:57:32.723" v="201" actId="20577"/>
          <ac:spMkLst>
            <pc:docMk/>
            <pc:sldMk cId="3419691827" sldId="338"/>
            <ac:spMk id="197" creationId="{85D1901C-874E-4D64-B494-BF73E5D9949F}"/>
          </ac:spMkLst>
        </pc:spChg>
        <pc:spChg chg="mod">
          <ac:chgData name="Marc Feldkirchner" userId="c4135e70-53ec-4cd4-a1bd-4ca908459c8c" providerId="ADAL" clId="{7F9C2C8A-03C3-431A-BE04-83FBFEAB7D91}" dt="2022-02-25T11:57:40.366" v="208" actId="20577"/>
          <ac:spMkLst>
            <pc:docMk/>
            <pc:sldMk cId="3419691827" sldId="338"/>
            <ac:spMk id="200" creationId="{E72D0F0E-AAD2-486F-8138-31245D0542B4}"/>
          </ac:spMkLst>
        </pc:spChg>
        <pc:spChg chg="mod">
          <ac:chgData name="Marc Feldkirchner" userId="c4135e70-53ec-4cd4-a1bd-4ca908459c8c" providerId="ADAL" clId="{7F9C2C8A-03C3-431A-BE04-83FBFEAB7D91}" dt="2022-02-25T11:57:52.447" v="230" actId="5793"/>
          <ac:spMkLst>
            <pc:docMk/>
            <pc:sldMk cId="3419691827" sldId="338"/>
            <ac:spMk id="203" creationId="{759F80D8-6C58-4E1A-B555-224CA4CA6B5B}"/>
          </ac:spMkLst>
        </pc:spChg>
        <pc:spChg chg="mod">
          <ac:chgData name="Marc Feldkirchner" userId="c4135e70-53ec-4cd4-a1bd-4ca908459c8c" providerId="ADAL" clId="{7F9C2C8A-03C3-431A-BE04-83FBFEAB7D91}" dt="2022-02-25T11:57:56.422" v="245" actId="20577"/>
          <ac:spMkLst>
            <pc:docMk/>
            <pc:sldMk cId="3419691827" sldId="338"/>
            <ac:spMk id="206" creationId="{15F811F0-37F3-4874-9FC1-865B6871A749}"/>
          </ac:spMkLst>
        </pc:spChg>
        <pc:spChg chg="mod">
          <ac:chgData name="Marc Feldkirchner" userId="c4135e70-53ec-4cd4-a1bd-4ca908459c8c" providerId="ADAL" clId="{7F9C2C8A-03C3-431A-BE04-83FBFEAB7D91}" dt="2022-02-25T11:58:13.676" v="300" actId="20577"/>
          <ac:spMkLst>
            <pc:docMk/>
            <pc:sldMk cId="3419691827" sldId="338"/>
            <ac:spMk id="209" creationId="{0DF32D69-996A-4E30-8B25-8743FD9921FC}"/>
          </ac:spMkLst>
        </pc:spChg>
        <pc:spChg chg="mod">
          <ac:chgData name="Marc Feldkirchner" userId="c4135e70-53ec-4cd4-a1bd-4ca908459c8c" providerId="ADAL" clId="{7F9C2C8A-03C3-431A-BE04-83FBFEAB7D91}" dt="2022-02-25T11:58:17.748" v="314" actId="20577"/>
          <ac:spMkLst>
            <pc:docMk/>
            <pc:sldMk cId="3419691827" sldId="338"/>
            <ac:spMk id="212" creationId="{FD55FBBA-F3B3-4550-A4BA-838F44C7EDF0}"/>
          </ac:spMkLst>
        </pc:spChg>
      </pc:sldChg>
      <pc:sldChg chg="addSp delSp modSp mod">
        <pc:chgData name="Marc Feldkirchner" userId="c4135e70-53ec-4cd4-a1bd-4ca908459c8c" providerId="ADAL" clId="{7F9C2C8A-03C3-431A-BE04-83FBFEAB7D91}" dt="2022-03-10T22:04:35.172" v="1199" actId="206"/>
        <pc:sldMkLst>
          <pc:docMk/>
          <pc:sldMk cId="3038720959" sldId="339"/>
        </pc:sldMkLst>
        <pc:spChg chg="add mod">
          <ac:chgData name="Marc Feldkirchner" userId="c4135e70-53ec-4cd4-a1bd-4ca908459c8c" providerId="ADAL" clId="{7F9C2C8A-03C3-431A-BE04-83FBFEAB7D91}" dt="2022-03-10T22:04:35.172" v="1199" actId="206"/>
          <ac:spMkLst>
            <pc:docMk/>
            <pc:sldMk cId="3038720959" sldId="339"/>
            <ac:spMk id="6" creationId="{16090C5D-56C4-4908-BC0E-A379FCDEFFFB}"/>
          </ac:spMkLst>
        </pc:spChg>
        <pc:spChg chg="add del mod">
          <ac:chgData name="Marc Feldkirchner" userId="c4135e70-53ec-4cd4-a1bd-4ca908459c8c" providerId="ADAL" clId="{7F9C2C8A-03C3-431A-BE04-83FBFEAB7D91}" dt="2022-02-25T12:22:45.414" v="578" actId="478"/>
          <ac:spMkLst>
            <pc:docMk/>
            <pc:sldMk cId="3038720959" sldId="339"/>
            <ac:spMk id="7" creationId="{50D94D1B-E0AC-4F6F-9645-D20EB614A0E9}"/>
          </ac:spMkLst>
        </pc:spChg>
        <pc:spChg chg="add mod">
          <ac:chgData name="Marc Feldkirchner" userId="c4135e70-53ec-4cd4-a1bd-4ca908459c8c" providerId="ADAL" clId="{7F9C2C8A-03C3-431A-BE04-83FBFEAB7D91}" dt="2022-02-25T12:24:34.750" v="601" actId="20577"/>
          <ac:spMkLst>
            <pc:docMk/>
            <pc:sldMk cId="3038720959" sldId="339"/>
            <ac:spMk id="11" creationId="{6E811F8E-ABDF-4340-BC93-05401E4402FE}"/>
          </ac:spMkLst>
        </pc:spChg>
        <pc:spChg chg="del">
          <ac:chgData name="Marc Feldkirchner" userId="c4135e70-53ec-4cd4-a1bd-4ca908459c8c" providerId="ADAL" clId="{7F9C2C8A-03C3-431A-BE04-83FBFEAB7D91}" dt="2022-02-25T12:22:43.777" v="577" actId="478"/>
          <ac:spMkLst>
            <pc:docMk/>
            <pc:sldMk cId="3038720959" sldId="339"/>
            <ac:spMk id="44" creationId="{F0263D60-897F-4160-9111-2A0237EF0BD9}"/>
          </ac:spMkLst>
        </pc:spChg>
        <pc:cxnChg chg="add mod">
          <ac:chgData name="Marc Feldkirchner" userId="c4135e70-53ec-4cd4-a1bd-4ca908459c8c" providerId="ADAL" clId="{7F9C2C8A-03C3-431A-BE04-83FBFEAB7D91}" dt="2022-02-25T12:23:02.599" v="580" actId="1582"/>
          <ac:cxnSpMkLst>
            <pc:docMk/>
            <pc:sldMk cId="3038720959" sldId="339"/>
            <ac:cxnSpMk id="12" creationId="{2075D55A-D767-4218-82E6-9BDBE296B488}"/>
          </ac:cxnSpMkLst>
        </pc:cxnChg>
      </pc:sldChg>
      <pc:sldChg chg="addSp delSp modSp mod">
        <pc:chgData name="Marc Feldkirchner" userId="c4135e70-53ec-4cd4-a1bd-4ca908459c8c" providerId="ADAL" clId="{7F9C2C8A-03C3-431A-BE04-83FBFEAB7D91}" dt="2022-03-10T22:13:27.892" v="1217" actId="948"/>
        <pc:sldMkLst>
          <pc:docMk/>
          <pc:sldMk cId="254456047" sldId="340"/>
        </pc:sldMkLst>
        <pc:spChg chg="add mod">
          <ac:chgData name="Marc Feldkirchner" userId="c4135e70-53ec-4cd4-a1bd-4ca908459c8c" providerId="ADAL" clId="{7F9C2C8A-03C3-431A-BE04-83FBFEAB7D91}" dt="2022-02-25T12:22:38.597" v="576" actId="478"/>
          <ac:spMkLst>
            <pc:docMk/>
            <pc:sldMk cId="254456047" sldId="340"/>
            <ac:spMk id="5" creationId="{2E9A6766-F00D-4323-BE36-056D34CFB2AA}"/>
          </ac:spMkLst>
        </pc:spChg>
        <pc:spChg chg="mod">
          <ac:chgData name="Marc Feldkirchner" userId="c4135e70-53ec-4cd4-a1bd-4ca908459c8c" providerId="ADAL" clId="{7F9C2C8A-03C3-431A-BE04-83FBFEAB7D91}" dt="2022-03-10T22:13:27.892" v="1217" actId="948"/>
          <ac:spMkLst>
            <pc:docMk/>
            <pc:sldMk cId="254456047" sldId="340"/>
            <ac:spMk id="42" creationId="{E509F2C9-0253-4180-81FE-61E462E5DE0C}"/>
          </ac:spMkLst>
        </pc:spChg>
        <pc:spChg chg="del">
          <ac:chgData name="Marc Feldkirchner" userId="c4135e70-53ec-4cd4-a1bd-4ca908459c8c" providerId="ADAL" clId="{7F9C2C8A-03C3-431A-BE04-83FBFEAB7D91}" dt="2022-02-25T12:22:38.597" v="576" actId="478"/>
          <ac:spMkLst>
            <pc:docMk/>
            <pc:sldMk cId="254456047" sldId="340"/>
            <ac:spMk id="44" creationId="{F0263D60-897F-4160-9111-2A0237EF0BD9}"/>
          </ac:spMkLst>
        </pc:spChg>
      </pc:sldChg>
      <pc:sldChg chg="modSp mod">
        <pc:chgData name="Marc Feldkirchner" userId="c4135e70-53ec-4cd4-a1bd-4ca908459c8c" providerId="ADAL" clId="{7F9C2C8A-03C3-431A-BE04-83FBFEAB7D91}" dt="2022-03-01T06:54:51.770" v="1151" actId="20577"/>
        <pc:sldMkLst>
          <pc:docMk/>
          <pc:sldMk cId="4197691444" sldId="360"/>
        </pc:sldMkLst>
        <pc:spChg chg="mod">
          <ac:chgData name="Marc Feldkirchner" userId="c4135e70-53ec-4cd4-a1bd-4ca908459c8c" providerId="ADAL" clId="{7F9C2C8A-03C3-431A-BE04-83FBFEAB7D91}" dt="2022-03-01T06:54:51.770" v="1151" actId="20577"/>
          <ac:spMkLst>
            <pc:docMk/>
            <pc:sldMk cId="4197691444" sldId="360"/>
            <ac:spMk id="2" creationId="{444F4F07-08F2-411D-8565-363712D9D21E}"/>
          </ac:spMkLst>
        </pc:spChg>
      </pc:sldChg>
      <pc:sldChg chg="modSp mod">
        <pc:chgData name="Marc Feldkirchner" userId="c4135e70-53ec-4cd4-a1bd-4ca908459c8c" providerId="ADAL" clId="{7F9C2C8A-03C3-431A-BE04-83FBFEAB7D91}" dt="2022-03-01T06:54:25.733" v="1117" actId="20577"/>
        <pc:sldMkLst>
          <pc:docMk/>
          <pc:sldMk cId="206669884" sldId="361"/>
        </pc:sldMkLst>
        <pc:spChg chg="mod">
          <ac:chgData name="Marc Feldkirchner" userId="c4135e70-53ec-4cd4-a1bd-4ca908459c8c" providerId="ADAL" clId="{7F9C2C8A-03C3-431A-BE04-83FBFEAB7D91}" dt="2022-03-01T06:54:25.733" v="1117" actId="20577"/>
          <ac:spMkLst>
            <pc:docMk/>
            <pc:sldMk cId="206669884" sldId="361"/>
            <ac:spMk id="14" creationId="{9C58521B-A8E3-41CD-AAF8-C67FFCFC8BA9}"/>
          </ac:spMkLst>
        </pc:spChg>
      </pc:sldChg>
      <pc:sldChg chg="ord">
        <pc:chgData name="Marc Feldkirchner" userId="c4135e70-53ec-4cd4-a1bd-4ca908459c8c" providerId="ADAL" clId="{7F9C2C8A-03C3-431A-BE04-83FBFEAB7D91}" dt="2022-03-10T22:16:12.190" v="1219"/>
        <pc:sldMkLst>
          <pc:docMk/>
          <pc:sldMk cId="33598816" sldId="364"/>
        </pc:sldMkLst>
      </pc:sldChg>
      <pc:sldChg chg="addSp delSp modSp mod modClrScheme chgLayout">
        <pc:chgData name="Marc Feldkirchner" userId="c4135e70-53ec-4cd4-a1bd-4ca908459c8c" providerId="ADAL" clId="{7F9C2C8A-03C3-431A-BE04-83FBFEAB7D91}" dt="2022-02-25T12:39:27.537" v="1079" actId="478"/>
        <pc:sldMkLst>
          <pc:docMk/>
          <pc:sldMk cId="3852887038" sldId="376"/>
        </pc:sldMkLst>
        <pc:spChg chg="mod ord">
          <ac:chgData name="Marc Feldkirchner" userId="c4135e70-53ec-4cd4-a1bd-4ca908459c8c" providerId="ADAL" clId="{7F9C2C8A-03C3-431A-BE04-83FBFEAB7D91}" dt="2022-02-25T12:25:57.055" v="602" actId="700"/>
          <ac:spMkLst>
            <pc:docMk/>
            <pc:sldMk cId="3852887038" sldId="376"/>
            <ac:spMk id="3" creationId="{B601115C-3EA0-4D9B-BEAD-B307461820E5}"/>
          </ac:spMkLst>
        </pc:spChg>
        <pc:spChg chg="add del mod">
          <ac:chgData name="Marc Feldkirchner" userId="c4135e70-53ec-4cd4-a1bd-4ca908459c8c" providerId="ADAL" clId="{7F9C2C8A-03C3-431A-BE04-83FBFEAB7D91}" dt="2022-02-25T12:26:04.143" v="604" actId="478"/>
          <ac:spMkLst>
            <pc:docMk/>
            <pc:sldMk cId="3852887038" sldId="376"/>
            <ac:spMk id="4" creationId="{C7B688FB-DF1B-4EC0-A994-85DCE28FABF4}"/>
          </ac:spMkLst>
        </pc:spChg>
        <pc:spChg chg="add del mod">
          <ac:chgData name="Marc Feldkirchner" userId="c4135e70-53ec-4cd4-a1bd-4ca908459c8c" providerId="ADAL" clId="{7F9C2C8A-03C3-431A-BE04-83FBFEAB7D91}" dt="2022-02-25T12:33:25.708" v="1061" actId="255"/>
          <ac:spMkLst>
            <pc:docMk/>
            <pc:sldMk cId="3852887038" sldId="376"/>
            <ac:spMk id="5" creationId="{3920483C-C283-4670-85AC-CEE9F5666ECA}"/>
          </ac:spMkLst>
        </pc:spChg>
        <pc:spChg chg="mod ord">
          <ac:chgData name="Marc Feldkirchner" userId="c4135e70-53ec-4cd4-a1bd-4ca908459c8c" providerId="ADAL" clId="{7F9C2C8A-03C3-431A-BE04-83FBFEAB7D91}" dt="2022-02-25T12:26:40.680" v="658" actId="20577"/>
          <ac:spMkLst>
            <pc:docMk/>
            <pc:sldMk cId="3852887038" sldId="376"/>
            <ac:spMk id="6" creationId="{36339FD2-8A35-4FC8-9986-7A015E26F5C0}"/>
          </ac:spMkLst>
        </pc:spChg>
        <pc:spChg chg="add del mod">
          <ac:chgData name="Marc Feldkirchner" userId="c4135e70-53ec-4cd4-a1bd-4ca908459c8c" providerId="ADAL" clId="{7F9C2C8A-03C3-431A-BE04-83FBFEAB7D91}" dt="2022-02-25T12:31:38.224" v="897" actId="478"/>
          <ac:spMkLst>
            <pc:docMk/>
            <pc:sldMk cId="3852887038" sldId="376"/>
            <ac:spMk id="7" creationId="{62A3262E-CDA4-4DE1-A30E-4F1836D56761}"/>
          </ac:spMkLst>
        </pc:spChg>
        <pc:spChg chg="add del mod">
          <ac:chgData name="Marc Feldkirchner" userId="c4135e70-53ec-4cd4-a1bd-4ca908459c8c" providerId="ADAL" clId="{7F9C2C8A-03C3-431A-BE04-83FBFEAB7D91}" dt="2022-02-25T12:26:57.514" v="665" actId="478"/>
          <ac:spMkLst>
            <pc:docMk/>
            <pc:sldMk cId="3852887038" sldId="376"/>
            <ac:spMk id="8" creationId="{35240E59-9310-407A-8010-00747563B634}"/>
          </ac:spMkLst>
        </pc:spChg>
        <pc:spChg chg="add del mod">
          <ac:chgData name="Marc Feldkirchner" userId="c4135e70-53ec-4cd4-a1bd-4ca908459c8c" providerId="ADAL" clId="{7F9C2C8A-03C3-431A-BE04-83FBFEAB7D91}" dt="2022-02-25T12:28:39.043" v="791" actId="478"/>
          <ac:spMkLst>
            <pc:docMk/>
            <pc:sldMk cId="3852887038" sldId="376"/>
            <ac:spMk id="9" creationId="{5ABB458E-B1DB-45A3-89D1-32380F56BE37}"/>
          </ac:spMkLst>
        </pc:spChg>
        <pc:spChg chg="add del mod">
          <ac:chgData name="Marc Feldkirchner" userId="c4135e70-53ec-4cd4-a1bd-4ca908459c8c" providerId="ADAL" clId="{7F9C2C8A-03C3-431A-BE04-83FBFEAB7D91}" dt="2022-02-25T12:38:27.144" v="1075" actId="478"/>
          <ac:spMkLst>
            <pc:docMk/>
            <pc:sldMk cId="3852887038" sldId="376"/>
            <ac:spMk id="10" creationId="{999BD86B-44EF-44CB-AF5E-55A5D9F37A2C}"/>
          </ac:spMkLst>
        </pc:spChg>
        <pc:spChg chg="add del mod">
          <ac:chgData name="Marc Feldkirchner" userId="c4135e70-53ec-4cd4-a1bd-4ca908459c8c" providerId="ADAL" clId="{7F9C2C8A-03C3-431A-BE04-83FBFEAB7D91}" dt="2022-02-25T12:30:20.735" v="886" actId="478"/>
          <ac:spMkLst>
            <pc:docMk/>
            <pc:sldMk cId="3852887038" sldId="376"/>
            <ac:spMk id="11" creationId="{62634820-76E7-4098-AAEE-03E9F72B128D}"/>
          </ac:spMkLst>
        </pc:spChg>
        <pc:spChg chg="add del mod">
          <ac:chgData name="Marc Feldkirchner" userId="c4135e70-53ec-4cd4-a1bd-4ca908459c8c" providerId="ADAL" clId="{7F9C2C8A-03C3-431A-BE04-83FBFEAB7D91}" dt="2022-02-25T12:30:43.571" v="888" actId="478"/>
          <ac:spMkLst>
            <pc:docMk/>
            <pc:sldMk cId="3852887038" sldId="376"/>
            <ac:spMk id="12" creationId="{1C4C0107-359B-443C-BE1B-7063882AE7B2}"/>
          </ac:spMkLst>
        </pc:spChg>
        <pc:spChg chg="add del mod">
          <ac:chgData name="Marc Feldkirchner" userId="c4135e70-53ec-4cd4-a1bd-4ca908459c8c" providerId="ADAL" clId="{7F9C2C8A-03C3-431A-BE04-83FBFEAB7D91}" dt="2022-02-25T12:39:27.537" v="1079" actId="478"/>
          <ac:spMkLst>
            <pc:docMk/>
            <pc:sldMk cId="3852887038" sldId="376"/>
            <ac:spMk id="13" creationId="{B9FB477F-996E-44CF-83C2-17799FCD649D}"/>
          </ac:spMkLst>
        </pc:spChg>
        <pc:spChg chg="add del mod">
          <ac:chgData name="Marc Feldkirchner" userId="c4135e70-53ec-4cd4-a1bd-4ca908459c8c" providerId="ADAL" clId="{7F9C2C8A-03C3-431A-BE04-83FBFEAB7D91}" dt="2022-02-25T12:38:26.444" v="1074" actId="478"/>
          <ac:spMkLst>
            <pc:docMk/>
            <pc:sldMk cId="3852887038" sldId="376"/>
            <ac:spMk id="15" creationId="{C9866F9F-2917-4CBF-8740-45B6EC09EA19}"/>
          </ac:spMkLst>
        </pc:spChg>
        <pc:spChg chg="add del mod">
          <ac:chgData name="Marc Feldkirchner" userId="c4135e70-53ec-4cd4-a1bd-4ca908459c8c" providerId="ADAL" clId="{7F9C2C8A-03C3-431A-BE04-83FBFEAB7D91}" dt="2022-02-25T12:38:25.821" v="1073" actId="478"/>
          <ac:spMkLst>
            <pc:docMk/>
            <pc:sldMk cId="3852887038" sldId="376"/>
            <ac:spMk id="16" creationId="{BA5B52E0-5872-4CFB-9A92-9FE46F18F442}"/>
          </ac:spMkLst>
        </pc:spChg>
        <pc:spChg chg="del mod ord">
          <ac:chgData name="Marc Feldkirchner" userId="c4135e70-53ec-4cd4-a1bd-4ca908459c8c" providerId="ADAL" clId="{7F9C2C8A-03C3-431A-BE04-83FBFEAB7D91}" dt="2022-02-25T12:26:01.395" v="603" actId="478"/>
          <ac:spMkLst>
            <pc:docMk/>
            <pc:sldMk cId="3852887038" sldId="376"/>
            <ac:spMk id="42" creationId="{E509F2C9-0253-4180-81FE-61E462E5DE0C}"/>
          </ac:spMkLst>
        </pc:spChg>
        <pc:spChg chg="del mod ord">
          <ac:chgData name="Marc Feldkirchner" userId="c4135e70-53ec-4cd4-a1bd-4ca908459c8c" providerId="ADAL" clId="{7F9C2C8A-03C3-431A-BE04-83FBFEAB7D91}" dt="2022-02-25T12:26:06.348" v="605" actId="478"/>
          <ac:spMkLst>
            <pc:docMk/>
            <pc:sldMk cId="3852887038" sldId="376"/>
            <ac:spMk id="44" creationId="{F0263D60-897F-4160-9111-2A0237EF0BD9}"/>
          </ac:spMkLst>
        </pc:spChg>
      </pc:sldChg>
      <pc:sldChg chg="addSp delSp modSp mod">
        <pc:chgData name="Marc Feldkirchner" userId="c4135e70-53ec-4cd4-a1bd-4ca908459c8c" providerId="ADAL" clId="{7F9C2C8A-03C3-431A-BE04-83FBFEAB7D91}" dt="2022-03-10T22:11:19.741" v="1213" actId="478"/>
        <pc:sldMkLst>
          <pc:docMk/>
          <pc:sldMk cId="941330492" sldId="379"/>
        </pc:sldMkLst>
        <pc:spChg chg="add del mod">
          <ac:chgData name="Marc Feldkirchner" userId="c4135e70-53ec-4cd4-a1bd-4ca908459c8c" providerId="ADAL" clId="{7F9C2C8A-03C3-431A-BE04-83FBFEAB7D91}" dt="2022-03-10T22:11:19.741" v="1213" actId="478"/>
          <ac:spMkLst>
            <pc:docMk/>
            <pc:sldMk cId="941330492" sldId="379"/>
            <ac:spMk id="7" creationId="{E0152457-3D0B-4023-A75E-479D4CB3FCEF}"/>
          </ac:spMkLst>
        </pc:spChg>
        <pc:spChg chg="mod">
          <ac:chgData name="Marc Feldkirchner" userId="c4135e70-53ec-4cd4-a1bd-4ca908459c8c" providerId="ADAL" clId="{7F9C2C8A-03C3-431A-BE04-83FBFEAB7D91}" dt="2022-03-10T22:10:49.204" v="1206" actId="1076"/>
          <ac:spMkLst>
            <pc:docMk/>
            <pc:sldMk cId="941330492" sldId="379"/>
            <ac:spMk id="12" creationId="{23060116-439C-4F92-91A6-51953D835258}"/>
          </ac:spMkLst>
        </pc:spChg>
        <pc:spChg chg="add del mod">
          <ac:chgData name="Marc Feldkirchner" userId="c4135e70-53ec-4cd4-a1bd-4ca908459c8c" providerId="ADAL" clId="{7F9C2C8A-03C3-431A-BE04-83FBFEAB7D91}" dt="2022-03-10T22:11:18.907" v="1212" actId="478"/>
          <ac:spMkLst>
            <pc:docMk/>
            <pc:sldMk cId="941330492" sldId="379"/>
            <ac:spMk id="23" creationId="{B78BA95A-82BD-4F72-A55C-6778227CD8D2}"/>
          </ac:spMkLst>
        </pc:spChg>
      </pc:sldChg>
      <pc:sldChg chg="modSp">
        <pc:chgData name="Marc Feldkirchner" userId="c4135e70-53ec-4cd4-a1bd-4ca908459c8c" providerId="ADAL" clId="{7F9C2C8A-03C3-431A-BE04-83FBFEAB7D91}" dt="2022-02-25T12:23:34.505" v="587" actId="572"/>
        <pc:sldMkLst>
          <pc:docMk/>
          <pc:sldMk cId="216177301" sldId="380"/>
        </pc:sldMkLst>
        <pc:graphicFrameChg chg="mod">
          <ac:chgData name="Marc Feldkirchner" userId="c4135e70-53ec-4cd4-a1bd-4ca908459c8c" providerId="ADAL" clId="{7F9C2C8A-03C3-431A-BE04-83FBFEAB7D91}" dt="2022-02-25T12:23:34.505" v="587" actId="572"/>
          <ac:graphicFrameMkLst>
            <pc:docMk/>
            <pc:sldMk cId="216177301" sldId="380"/>
            <ac:graphicFrameMk id="12" creationId="{90A3AE64-04DB-4D3B-AC2B-2A4E8D7484AB}"/>
          </ac:graphicFrameMkLst>
        </pc:graphicFrameChg>
      </pc:sldChg>
      <pc:sldChg chg="modSp add del mod">
        <pc:chgData name="Marc Feldkirchner" userId="c4135e70-53ec-4cd4-a1bd-4ca908459c8c" providerId="ADAL" clId="{7F9C2C8A-03C3-431A-BE04-83FBFEAB7D91}" dt="2022-02-25T11:58:36.206" v="329" actId="47"/>
        <pc:sldMkLst>
          <pc:docMk/>
          <pc:sldMk cId="1105572835" sldId="381"/>
        </pc:sldMkLst>
        <pc:spChg chg="mod">
          <ac:chgData name="Marc Feldkirchner" userId="c4135e70-53ec-4cd4-a1bd-4ca908459c8c" providerId="ADAL" clId="{7F9C2C8A-03C3-431A-BE04-83FBFEAB7D91}" dt="2022-02-25T11:47:00.732" v="42"/>
          <ac:spMkLst>
            <pc:docMk/>
            <pc:sldMk cId="1105572835" sldId="381"/>
            <ac:spMk id="6" creationId="{8A12327F-1131-482D-954E-894DEC9EF3F1}"/>
          </ac:spMkLst>
        </pc:spChg>
      </pc:sldChg>
      <pc:sldChg chg="add">
        <pc:chgData name="Marc Feldkirchner" userId="c4135e70-53ec-4cd4-a1bd-4ca908459c8c" providerId="ADAL" clId="{7F9C2C8A-03C3-431A-BE04-83FBFEAB7D91}" dt="2022-03-22T16:40:06.620" v="1931"/>
        <pc:sldMkLst>
          <pc:docMk/>
          <pc:sldMk cId="2169851743" sldId="382"/>
        </pc:sldMkLst>
      </pc:sldChg>
      <pc:sldChg chg="add del">
        <pc:chgData name="Marc Feldkirchner" userId="c4135e70-53ec-4cd4-a1bd-4ca908459c8c" providerId="ADAL" clId="{7F9C2C8A-03C3-431A-BE04-83FBFEAB7D91}" dt="2022-02-25T11:58:36.206" v="329" actId="47"/>
        <pc:sldMkLst>
          <pc:docMk/>
          <pc:sldMk cId="3354193982" sldId="382"/>
        </pc:sldMkLst>
      </pc:sldChg>
      <pc:sldChg chg="addSp delSp modSp new del mod">
        <pc:chgData name="Marc Feldkirchner" userId="c4135e70-53ec-4cd4-a1bd-4ca908459c8c" providerId="ADAL" clId="{7F9C2C8A-03C3-431A-BE04-83FBFEAB7D91}" dt="2022-02-25T12:22:31.311" v="575" actId="47"/>
        <pc:sldMkLst>
          <pc:docMk/>
          <pc:sldMk cId="1508556238" sldId="383"/>
        </pc:sldMkLst>
        <pc:spChg chg="del">
          <ac:chgData name="Marc Feldkirchner" userId="c4135e70-53ec-4cd4-a1bd-4ca908459c8c" providerId="ADAL" clId="{7F9C2C8A-03C3-431A-BE04-83FBFEAB7D91}" dt="2022-02-25T11:49:02.390" v="45" actId="478"/>
          <ac:spMkLst>
            <pc:docMk/>
            <pc:sldMk cId="1508556238" sldId="383"/>
            <ac:spMk id="5" creationId="{C233532D-9499-4806-8FEC-8A9A79CAE540}"/>
          </ac:spMkLst>
        </pc:spChg>
        <pc:spChg chg="add del mod">
          <ac:chgData name="Marc Feldkirchner" userId="c4135e70-53ec-4cd4-a1bd-4ca908459c8c" providerId="ADAL" clId="{7F9C2C8A-03C3-431A-BE04-83FBFEAB7D91}" dt="2022-02-25T11:50:07.340" v="55" actId="478"/>
          <ac:spMkLst>
            <pc:docMk/>
            <pc:sldMk cId="1508556238" sldId="383"/>
            <ac:spMk id="6" creationId="{CF98E042-AF62-47F0-B809-E651D6938282}"/>
          </ac:spMkLst>
        </pc:spChg>
        <pc:spChg chg="add del mod">
          <ac:chgData name="Marc Feldkirchner" userId="c4135e70-53ec-4cd4-a1bd-4ca908459c8c" providerId="ADAL" clId="{7F9C2C8A-03C3-431A-BE04-83FBFEAB7D91}" dt="2022-02-25T11:50:07.340" v="55" actId="478"/>
          <ac:spMkLst>
            <pc:docMk/>
            <pc:sldMk cId="1508556238" sldId="383"/>
            <ac:spMk id="7" creationId="{5A78C001-EB71-4D52-9C2A-D0D91B830629}"/>
          </ac:spMkLst>
        </pc:spChg>
        <pc:spChg chg="add del mod ord">
          <ac:chgData name="Marc Feldkirchner" userId="c4135e70-53ec-4cd4-a1bd-4ca908459c8c" providerId="ADAL" clId="{7F9C2C8A-03C3-431A-BE04-83FBFEAB7D91}" dt="2022-02-25T12:22:29.312" v="574" actId="478"/>
          <ac:spMkLst>
            <pc:docMk/>
            <pc:sldMk cId="1508556238" sldId="383"/>
            <ac:spMk id="11" creationId="{D1B7FAD2-5E82-43D1-9176-E1269EA0F0FE}"/>
          </ac:spMkLst>
        </pc:spChg>
        <pc:cxnChg chg="add del mod">
          <ac:chgData name="Marc Feldkirchner" userId="c4135e70-53ec-4cd4-a1bd-4ca908459c8c" providerId="ADAL" clId="{7F9C2C8A-03C3-431A-BE04-83FBFEAB7D91}" dt="2022-02-25T12:22:29.312" v="574" actId="478"/>
          <ac:cxnSpMkLst>
            <pc:docMk/>
            <pc:sldMk cId="1508556238" sldId="383"/>
            <ac:cxnSpMk id="9" creationId="{C0737131-01FF-4A40-907B-D1D74D410947}"/>
          </ac:cxnSpMkLst>
        </pc:cxnChg>
      </pc:sldChg>
      <pc:sldChg chg="modSp add mod">
        <pc:chgData name="Marc Feldkirchner" userId="c4135e70-53ec-4cd4-a1bd-4ca908459c8c" providerId="ADAL" clId="{7F9C2C8A-03C3-431A-BE04-83FBFEAB7D91}" dt="2022-02-25T12:08:18.753" v="503" actId="20577"/>
        <pc:sldMkLst>
          <pc:docMk/>
          <pc:sldMk cId="1045533942" sldId="384"/>
        </pc:sldMkLst>
        <pc:spChg chg="mod">
          <ac:chgData name="Marc Feldkirchner" userId="c4135e70-53ec-4cd4-a1bd-4ca908459c8c" providerId="ADAL" clId="{7F9C2C8A-03C3-431A-BE04-83FBFEAB7D91}" dt="2022-02-25T12:06:52.165" v="414" actId="553"/>
          <ac:spMkLst>
            <pc:docMk/>
            <pc:sldMk cId="1045533942" sldId="384"/>
            <ac:spMk id="33" creationId="{263113CB-4CD9-44E3-ABA2-180A4AC766D6}"/>
          </ac:spMkLst>
        </pc:spChg>
        <pc:spChg chg="mod">
          <ac:chgData name="Marc Feldkirchner" userId="c4135e70-53ec-4cd4-a1bd-4ca908459c8c" providerId="ADAL" clId="{7F9C2C8A-03C3-431A-BE04-83FBFEAB7D91}" dt="2022-02-25T12:06:43.810" v="413" actId="552"/>
          <ac:spMkLst>
            <pc:docMk/>
            <pc:sldMk cId="1045533942" sldId="384"/>
            <ac:spMk id="34" creationId="{D50652B0-02F6-4DC9-B219-540C00F398C8}"/>
          </ac:spMkLst>
        </pc:spChg>
        <pc:spChg chg="mod">
          <ac:chgData name="Marc Feldkirchner" userId="c4135e70-53ec-4cd4-a1bd-4ca908459c8c" providerId="ADAL" clId="{7F9C2C8A-03C3-431A-BE04-83FBFEAB7D91}" dt="2022-02-25T12:06:52.165" v="414" actId="553"/>
          <ac:spMkLst>
            <pc:docMk/>
            <pc:sldMk cId="1045533942" sldId="384"/>
            <ac:spMk id="35" creationId="{BBC7F6AD-6921-4ACF-B45E-17375A3F9F3D}"/>
          </ac:spMkLst>
        </pc:spChg>
        <pc:spChg chg="mod">
          <ac:chgData name="Marc Feldkirchner" userId="c4135e70-53ec-4cd4-a1bd-4ca908459c8c" providerId="ADAL" clId="{7F9C2C8A-03C3-431A-BE04-83FBFEAB7D91}" dt="2022-02-25T12:06:43.810" v="413" actId="552"/>
          <ac:spMkLst>
            <pc:docMk/>
            <pc:sldMk cId="1045533942" sldId="384"/>
            <ac:spMk id="36" creationId="{85521C35-6CE7-4ECC-8F11-10793F43E7FA}"/>
          </ac:spMkLst>
        </pc:spChg>
        <pc:spChg chg="mod">
          <ac:chgData name="Marc Feldkirchner" userId="c4135e70-53ec-4cd4-a1bd-4ca908459c8c" providerId="ADAL" clId="{7F9C2C8A-03C3-431A-BE04-83FBFEAB7D91}" dt="2022-02-25T12:06:52.165" v="414" actId="553"/>
          <ac:spMkLst>
            <pc:docMk/>
            <pc:sldMk cId="1045533942" sldId="384"/>
            <ac:spMk id="39" creationId="{D87F1C78-F62E-42EB-920E-50210B835B8C}"/>
          </ac:spMkLst>
        </pc:spChg>
        <pc:spChg chg="mod">
          <ac:chgData name="Marc Feldkirchner" userId="c4135e70-53ec-4cd4-a1bd-4ca908459c8c" providerId="ADAL" clId="{7F9C2C8A-03C3-431A-BE04-83FBFEAB7D91}" dt="2022-02-25T12:06:52.165" v="414" actId="553"/>
          <ac:spMkLst>
            <pc:docMk/>
            <pc:sldMk cId="1045533942" sldId="384"/>
            <ac:spMk id="40" creationId="{E96176A8-49A1-4A98-B344-E18E879717A3}"/>
          </ac:spMkLst>
        </pc:spChg>
        <pc:spChg chg="mod">
          <ac:chgData name="Marc Feldkirchner" userId="c4135e70-53ec-4cd4-a1bd-4ca908459c8c" providerId="ADAL" clId="{7F9C2C8A-03C3-431A-BE04-83FBFEAB7D91}" dt="2022-02-25T12:06:43.810" v="413" actId="552"/>
          <ac:spMkLst>
            <pc:docMk/>
            <pc:sldMk cId="1045533942" sldId="384"/>
            <ac:spMk id="41" creationId="{D8351968-52D9-4CF5-B1B9-1E5F16DAD8A2}"/>
          </ac:spMkLst>
        </pc:spChg>
        <pc:spChg chg="mod">
          <ac:chgData name="Marc Feldkirchner" userId="c4135e70-53ec-4cd4-a1bd-4ca908459c8c" providerId="ADAL" clId="{7F9C2C8A-03C3-431A-BE04-83FBFEAB7D91}" dt="2022-02-25T12:06:43.810" v="413" actId="552"/>
          <ac:spMkLst>
            <pc:docMk/>
            <pc:sldMk cId="1045533942" sldId="384"/>
            <ac:spMk id="42" creationId="{D9A06F0E-91F5-433D-84E1-E2ADFB411A12}"/>
          </ac:spMkLst>
        </pc:spChg>
        <pc:spChg chg="mod">
          <ac:chgData name="Marc Feldkirchner" userId="c4135e70-53ec-4cd4-a1bd-4ca908459c8c" providerId="ADAL" clId="{7F9C2C8A-03C3-431A-BE04-83FBFEAB7D91}" dt="2022-02-25T12:08:18.753" v="503" actId="20577"/>
          <ac:spMkLst>
            <pc:docMk/>
            <pc:sldMk cId="1045533942" sldId="384"/>
            <ac:spMk id="45" creationId="{0B1198CB-D12B-421A-93D0-8C56312E30F4}"/>
          </ac:spMkLst>
        </pc:spChg>
        <pc:spChg chg="mod">
          <ac:chgData name="Marc Feldkirchner" userId="c4135e70-53ec-4cd4-a1bd-4ca908459c8c" providerId="ADAL" clId="{7F9C2C8A-03C3-431A-BE04-83FBFEAB7D91}" dt="2022-02-25T12:07:08.431" v="438" actId="20577"/>
          <ac:spMkLst>
            <pc:docMk/>
            <pc:sldMk cId="1045533942" sldId="384"/>
            <ac:spMk id="179" creationId="{BA596FC9-79E8-4C8F-B716-4B680640466C}"/>
          </ac:spMkLst>
        </pc:spChg>
        <pc:spChg chg="mod">
          <ac:chgData name="Marc Feldkirchner" userId="c4135e70-53ec-4cd4-a1bd-4ca908459c8c" providerId="ADAL" clId="{7F9C2C8A-03C3-431A-BE04-83FBFEAB7D91}" dt="2022-02-25T12:07:01.485" v="426" actId="20577"/>
          <ac:spMkLst>
            <pc:docMk/>
            <pc:sldMk cId="1045533942" sldId="384"/>
            <ac:spMk id="182" creationId="{BA714521-F0A9-44FA-B5A8-FD27D3EFC840}"/>
          </ac:spMkLst>
        </pc:spChg>
        <pc:spChg chg="mod">
          <ac:chgData name="Marc Feldkirchner" userId="c4135e70-53ec-4cd4-a1bd-4ca908459c8c" providerId="ADAL" clId="{7F9C2C8A-03C3-431A-BE04-83FBFEAB7D91}" dt="2022-02-25T12:04:53.122" v="398" actId="1076"/>
          <ac:spMkLst>
            <pc:docMk/>
            <pc:sldMk cId="1045533942" sldId="384"/>
            <ac:spMk id="184" creationId="{F57A899F-DDD4-49AB-B9FC-0358D18E82DF}"/>
          </ac:spMkLst>
        </pc:spChg>
        <pc:spChg chg="mod">
          <ac:chgData name="Marc Feldkirchner" userId="c4135e70-53ec-4cd4-a1bd-4ca908459c8c" providerId="ADAL" clId="{7F9C2C8A-03C3-431A-BE04-83FBFEAB7D91}" dt="2022-02-25T12:07:22.473" v="463" actId="20577"/>
          <ac:spMkLst>
            <pc:docMk/>
            <pc:sldMk cId="1045533942" sldId="384"/>
            <ac:spMk id="185" creationId="{1136CD69-C074-465E-B9C4-D5F64CE0B09B}"/>
          </ac:spMkLst>
        </pc:spChg>
        <pc:spChg chg="mod">
          <ac:chgData name="Marc Feldkirchner" userId="c4135e70-53ec-4cd4-a1bd-4ca908459c8c" providerId="ADAL" clId="{7F9C2C8A-03C3-431A-BE04-83FBFEAB7D91}" dt="2022-02-25T12:05:18.088" v="403" actId="1076"/>
          <ac:spMkLst>
            <pc:docMk/>
            <pc:sldMk cId="1045533942" sldId="384"/>
            <ac:spMk id="187" creationId="{9D006762-F0F3-4076-BE97-6124B4FABEA5}"/>
          </ac:spMkLst>
        </pc:spChg>
        <pc:spChg chg="mod">
          <ac:chgData name="Marc Feldkirchner" userId="c4135e70-53ec-4cd4-a1bd-4ca908459c8c" providerId="ADAL" clId="{7F9C2C8A-03C3-431A-BE04-83FBFEAB7D91}" dt="2022-02-25T12:07:33.801" v="487" actId="20577"/>
          <ac:spMkLst>
            <pc:docMk/>
            <pc:sldMk cId="1045533942" sldId="384"/>
            <ac:spMk id="188" creationId="{0100F361-9136-43CC-9E16-CF4F0116BC89}"/>
          </ac:spMkLst>
        </pc:spChg>
        <pc:spChg chg="mod">
          <ac:chgData name="Marc Feldkirchner" userId="c4135e70-53ec-4cd4-a1bd-4ca908459c8c" providerId="ADAL" clId="{7F9C2C8A-03C3-431A-BE04-83FBFEAB7D91}" dt="2022-02-25T12:06:04.842" v="407" actId="1076"/>
          <ac:spMkLst>
            <pc:docMk/>
            <pc:sldMk cId="1045533942" sldId="384"/>
            <ac:spMk id="190" creationId="{6F267383-00ED-4749-BF8E-39A206F44ECD}"/>
          </ac:spMkLst>
        </pc:spChg>
        <pc:spChg chg="mod">
          <ac:chgData name="Marc Feldkirchner" userId="c4135e70-53ec-4cd4-a1bd-4ca908459c8c" providerId="ADAL" clId="{7F9C2C8A-03C3-431A-BE04-83FBFEAB7D91}" dt="2022-02-25T12:07:14.298" v="445" actId="20577"/>
          <ac:spMkLst>
            <pc:docMk/>
            <pc:sldMk cId="1045533942" sldId="384"/>
            <ac:spMk id="191" creationId="{7ECDB696-7E06-4989-9BAE-8071ABC83A16}"/>
          </ac:spMkLst>
        </pc:spChg>
        <pc:spChg chg="mod">
          <ac:chgData name="Marc Feldkirchner" userId="c4135e70-53ec-4cd4-a1bd-4ca908459c8c" providerId="ADAL" clId="{7F9C2C8A-03C3-431A-BE04-83FBFEAB7D91}" dt="2022-02-25T12:06:32.636" v="412" actId="1076"/>
          <ac:spMkLst>
            <pc:docMk/>
            <pc:sldMk cId="1045533942" sldId="384"/>
            <ac:spMk id="193" creationId="{4407F2A3-C74A-414D-8577-CB1F9BFBFCF1}"/>
          </ac:spMkLst>
        </pc:spChg>
        <pc:spChg chg="mod">
          <ac:chgData name="Marc Feldkirchner" userId="c4135e70-53ec-4cd4-a1bd-4ca908459c8c" providerId="ADAL" clId="{7F9C2C8A-03C3-431A-BE04-83FBFEAB7D91}" dt="2022-02-25T12:07:25.663" v="469" actId="20577"/>
          <ac:spMkLst>
            <pc:docMk/>
            <pc:sldMk cId="1045533942" sldId="384"/>
            <ac:spMk id="194" creationId="{8BA74258-D9BE-4090-AFA9-5A9656D0DD6E}"/>
          </ac:spMkLst>
        </pc:spChg>
        <pc:spChg chg="mod">
          <ac:chgData name="Marc Feldkirchner" userId="c4135e70-53ec-4cd4-a1bd-4ca908459c8c" providerId="ADAL" clId="{7F9C2C8A-03C3-431A-BE04-83FBFEAB7D91}" dt="2022-02-25T12:07:05.994" v="432" actId="20577"/>
          <ac:spMkLst>
            <pc:docMk/>
            <pc:sldMk cId="1045533942" sldId="384"/>
            <ac:spMk id="197" creationId="{85D1901C-874E-4D64-B494-BF73E5D9949F}"/>
          </ac:spMkLst>
        </pc:spChg>
        <pc:spChg chg="mod">
          <ac:chgData name="Marc Feldkirchner" userId="c4135e70-53ec-4cd4-a1bd-4ca908459c8c" providerId="ADAL" clId="{7F9C2C8A-03C3-431A-BE04-83FBFEAB7D91}" dt="2022-02-25T12:07:11.306" v="439" actId="313"/>
          <ac:spMkLst>
            <pc:docMk/>
            <pc:sldMk cId="1045533942" sldId="384"/>
            <ac:spMk id="200" creationId="{E72D0F0E-AAD2-486F-8138-31245D0542B4}"/>
          </ac:spMkLst>
        </pc:spChg>
        <pc:spChg chg="mod">
          <ac:chgData name="Marc Feldkirchner" userId="c4135e70-53ec-4cd4-a1bd-4ca908459c8c" providerId="ADAL" clId="{7F9C2C8A-03C3-431A-BE04-83FBFEAB7D91}" dt="2022-02-25T12:06:09.423" v="408" actId="1076"/>
          <ac:spMkLst>
            <pc:docMk/>
            <pc:sldMk cId="1045533942" sldId="384"/>
            <ac:spMk id="202" creationId="{F69CD99C-670E-4658-B02C-1E7E62DDFD77}"/>
          </ac:spMkLst>
        </pc:spChg>
        <pc:spChg chg="mod">
          <ac:chgData name="Marc Feldkirchner" userId="c4135e70-53ec-4cd4-a1bd-4ca908459c8c" providerId="ADAL" clId="{7F9C2C8A-03C3-431A-BE04-83FBFEAB7D91}" dt="2022-02-25T12:07:17.424" v="451" actId="20577"/>
          <ac:spMkLst>
            <pc:docMk/>
            <pc:sldMk cId="1045533942" sldId="384"/>
            <ac:spMk id="203" creationId="{759F80D8-6C58-4E1A-B555-224CA4CA6B5B}"/>
          </ac:spMkLst>
        </pc:spChg>
        <pc:spChg chg="mod">
          <ac:chgData name="Marc Feldkirchner" userId="c4135e70-53ec-4cd4-a1bd-4ca908459c8c" providerId="ADAL" clId="{7F9C2C8A-03C3-431A-BE04-83FBFEAB7D91}" dt="2022-02-25T12:06:12.495" v="409" actId="1076"/>
          <ac:spMkLst>
            <pc:docMk/>
            <pc:sldMk cId="1045533942" sldId="384"/>
            <ac:spMk id="205" creationId="{AAD21B5D-A139-4009-AB75-BA9E4F6C4C10}"/>
          </ac:spMkLst>
        </pc:spChg>
        <pc:spChg chg="mod">
          <ac:chgData name="Marc Feldkirchner" userId="c4135e70-53ec-4cd4-a1bd-4ca908459c8c" providerId="ADAL" clId="{7F9C2C8A-03C3-431A-BE04-83FBFEAB7D91}" dt="2022-02-25T12:07:20.166" v="457" actId="20577"/>
          <ac:spMkLst>
            <pc:docMk/>
            <pc:sldMk cId="1045533942" sldId="384"/>
            <ac:spMk id="206" creationId="{15F811F0-37F3-4874-9FC1-865B6871A749}"/>
          </ac:spMkLst>
        </pc:spChg>
        <pc:spChg chg="mod">
          <ac:chgData name="Marc Feldkirchner" userId="c4135e70-53ec-4cd4-a1bd-4ca908459c8c" providerId="ADAL" clId="{7F9C2C8A-03C3-431A-BE04-83FBFEAB7D91}" dt="2022-02-25T12:06:28.166" v="411" actId="1076"/>
          <ac:spMkLst>
            <pc:docMk/>
            <pc:sldMk cId="1045533942" sldId="384"/>
            <ac:spMk id="208" creationId="{5FC69E20-5CF8-414D-9D04-0FC1C0A0438F}"/>
          </ac:spMkLst>
        </pc:spChg>
        <pc:spChg chg="mod">
          <ac:chgData name="Marc Feldkirchner" userId="c4135e70-53ec-4cd4-a1bd-4ca908459c8c" providerId="ADAL" clId="{7F9C2C8A-03C3-431A-BE04-83FBFEAB7D91}" dt="2022-02-25T12:07:28.347" v="475" actId="20577"/>
          <ac:spMkLst>
            <pc:docMk/>
            <pc:sldMk cId="1045533942" sldId="384"/>
            <ac:spMk id="209" creationId="{0DF32D69-996A-4E30-8B25-8743FD9921FC}"/>
          </ac:spMkLst>
        </pc:spChg>
        <pc:spChg chg="mod">
          <ac:chgData name="Marc Feldkirchner" userId="c4135e70-53ec-4cd4-a1bd-4ca908459c8c" providerId="ADAL" clId="{7F9C2C8A-03C3-431A-BE04-83FBFEAB7D91}" dt="2022-02-25T12:06:23.201" v="410" actId="1076"/>
          <ac:spMkLst>
            <pc:docMk/>
            <pc:sldMk cId="1045533942" sldId="384"/>
            <ac:spMk id="211" creationId="{D7D67B0B-1B2A-47EF-B324-2111E1A3897F}"/>
          </ac:spMkLst>
        </pc:spChg>
        <pc:spChg chg="mod">
          <ac:chgData name="Marc Feldkirchner" userId="c4135e70-53ec-4cd4-a1bd-4ca908459c8c" providerId="ADAL" clId="{7F9C2C8A-03C3-431A-BE04-83FBFEAB7D91}" dt="2022-02-25T12:07:30.713" v="481" actId="20577"/>
          <ac:spMkLst>
            <pc:docMk/>
            <pc:sldMk cId="1045533942" sldId="384"/>
            <ac:spMk id="212" creationId="{FD55FBBA-F3B3-4550-A4BA-838F44C7EDF0}"/>
          </ac:spMkLst>
        </pc:spChg>
      </pc:sldChg>
      <pc:sldChg chg="modSp add del mod">
        <pc:chgData name="Marc Feldkirchner" userId="c4135e70-53ec-4cd4-a1bd-4ca908459c8c" providerId="ADAL" clId="{7F9C2C8A-03C3-431A-BE04-83FBFEAB7D91}" dt="2022-02-25T11:59:52.487" v="370" actId="47"/>
        <pc:sldMkLst>
          <pc:docMk/>
          <pc:sldMk cId="3556759864" sldId="384"/>
        </pc:sldMkLst>
        <pc:spChg chg="mod">
          <ac:chgData name="Marc Feldkirchner" userId="c4135e70-53ec-4cd4-a1bd-4ca908459c8c" providerId="ADAL" clId="{7F9C2C8A-03C3-431A-BE04-83FBFEAB7D91}" dt="2022-02-25T11:58:51.727" v="333" actId="20577"/>
          <ac:spMkLst>
            <pc:docMk/>
            <pc:sldMk cId="3556759864" sldId="384"/>
            <ac:spMk id="45" creationId="{0B1198CB-D12B-421A-93D0-8C56312E30F4}"/>
          </ac:spMkLst>
        </pc:spChg>
      </pc:sldChg>
      <pc:sldChg chg="addSp delSp modSp add mod">
        <pc:chgData name="Marc Feldkirchner" userId="c4135e70-53ec-4cd4-a1bd-4ca908459c8c" providerId="ADAL" clId="{7F9C2C8A-03C3-431A-BE04-83FBFEAB7D91}" dt="2022-02-25T12:21:19.294" v="573" actId="5793"/>
        <pc:sldMkLst>
          <pc:docMk/>
          <pc:sldMk cId="1769863677" sldId="385"/>
        </pc:sldMkLst>
        <pc:spChg chg="add del mod">
          <ac:chgData name="Marc Feldkirchner" userId="c4135e70-53ec-4cd4-a1bd-4ca908459c8c" providerId="ADAL" clId="{7F9C2C8A-03C3-431A-BE04-83FBFEAB7D91}" dt="2022-02-25T12:08:05.923" v="491" actId="478"/>
          <ac:spMkLst>
            <pc:docMk/>
            <pc:sldMk cId="1769863677" sldId="385"/>
            <ac:spMk id="3" creationId="{CB3E5B52-A57D-48BD-9C77-1A90F20D1F33}"/>
          </ac:spMkLst>
        </pc:spChg>
        <pc:spChg chg="add del mod">
          <ac:chgData name="Marc Feldkirchner" userId="c4135e70-53ec-4cd4-a1bd-4ca908459c8c" providerId="ADAL" clId="{7F9C2C8A-03C3-431A-BE04-83FBFEAB7D91}" dt="2022-02-25T12:08:05.923" v="491" actId="478"/>
          <ac:spMkLst>
            <pc:docMk/>
            <pc:sldMk cId="1769863677" sldId="385"/>
            <ac:spMk id="5" creationId="{BFF9F476-61A3-402D-80F2-AD8177614424}"/>
          </ac:spMkLst>
        </pc:spChg>
        <pc:spChg chg="add del mod">
          <ac:chgData name="Marc Feldkirchner" userId="c4135e70-53ec-4cd4-a1bd-4ca908459c8c" providerId="ADAL" clId="{7F9C2C8A-03C3-431A-BE04-83FBFEAB7D91}" dt="2022-02-25T12:08:05.923" v="491" actId="478"/>
          <ac:spMkLst>
            <pc:docMk/>
            <pc:sldMk cId="1769863677" sldId="385"/>
            <ac:spMk id="8" creationId="{C2CDE81C-C19E-4FA9-BC5D-9F56EC9C9DAD}"/>
          </ac:spMkLst>
        </pc:spChg>
        <pc:spChg chg="add del mod">
          <ac:chgData name="Marc Feldkirchner" userId="c4135e70-53ec-4cd4-a1bd-4ca908459c8c" providerId="ADAL" clId="{7F9C2C8A-03C3-431A-BE04-83FBFEAB7D91}" dt="2022-02-25T12:08:05.923" v="491" actId="478"/>
          <ac:spMkLst>
            <pc:docMk/>
            <pc:sldMk cId="1769863677" sldId="385"/>
            <ac:spMk id="10" creationId="{2523632E-3B52-4FE7-8059-D5A9CE4531A8}"/>
          </ac:spMkLst>
        </pc:spChg>
        <pc:spChg chg="add del mod">
          <ac:chgData name="Marc Feldkirchner" userId="c4135e70-53ec-4cd4-a1bd-4ca908459c8c" providerId="ADAL" clId="{7F9C2C8A-03C3-431A-BE04-83FBFEAB7D91}" dt="2022-02-25T12:08:05.923" v="491" actId="478"/>
          <ac:spMkLst>
            <pc:docMk/>
            <pc:sldMk cId="1769863677" sldId="385"/>
            <ac:spMk id="12" creationId="{378836B2-350A-4B64-A824-CFBB669BF9D3}"/>
          </ac:spMkLst>
        </pc:spChg>
        <pc:spChg chg="add del mod">
          <ac:chgData name="Marc Feldkirchner" userId="c4135e70-53ec-4cd4-a1bd-4ca908459c8c" providerId="ADAL" clId="{7F9C2C8A-03C3-431A-BE04-83FBFEAB7D91}" dt="2022-02-25T12:08:05.923" v="491" actId="478"/>
          <ac:spMkLst>
            <pc:docMk/>
            <pc:sldMk cId="1769863677" sldId="385"/>
            <ac:spMk id="14" creationId="{5F6019A0-A30E-44A6-A083-49ABDFA1DCA9}"/>
          </ac:spMkLst>
        </pc:spChg>
        <pc:spChg chg="add del mod">
          <ac:chgData name="Marc Feldkirchner" userId="c4135e70-53ec-4cd4-a1bd-4ca908459c8c" providerId="ADAL" clId="{7F9C2C8A-03C3-431A-BE04-83FBFEAB7D91}" dt="2022-02-25T12:08:05.923" v="491" actId="478"/>
          <ac:spMkLst>
            <pc:docMk/>
            <pc:sldMk cId="1769863677" sldId="385"/>
            <ac:spMk id="16" creationId="{78EB17EC-28BB-45C3-9637-02019DEFB2D3}"/>
          </ac:spMkLst>
        </pc:spChg>
        <pc:spChg chg="add del mod">
          <ac:chgData name="Marc Feldkirchner" userId="c4135e70-53ec-4cd4-a1bd-4ca908459c8c" providerId="ADAL" clId="{7F9C2C8A-03C3-431A-BE04-83FBFEAB7D91}" dt="2022-02-25T12:08:05.923" v="491" actId="478"/>
          <ac:spMkLst>
            <pc:docMk/>
            <pc:sldMk cId="1769863677" sldId="385"/>
            <ac:spMk id="18" creationId="{7BF2D4BE-C038-4596-92A2-16B80B6C6015}"/>
          </ac:spMkLst>
        </pc:spChg>
        <pc:spChg chg="mod">
          <ac:chgData name="Marc Feldkirchner" userId="c4135e70-53ec-4cd4-a1bd-4ca908459c8c" providerId="ADAL" clId="{7F9C2C8A-03C3-431A-BE04-83FBFEAB7D91}" dt="2022-02-25T12:20:56.006" v="525" actId="553"/>
          <ac:spMkLst>
            <pc:docMk/>
            <pc:sldMk cId="1769863677" sldId="385"/>
            <ac:spMk id="33" creationId="{263113CB-4CD9-44E3-ABA2-180A4AC766D6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34" creationId="{D50652B0-02F6-4DC9-B219-540C00F398C8}"/>
          </ac:spMkLst>
        </pc:spChg>
        <pc:spChg chg="mod">
          <ac:chgData name="Marc Feldkirchner" userId="c4135e70-53ec-4cd4-a1bd-4ca908459c8c" providerId="ADAL" clId="{7F9C2C8A-03C3-431A-BE04-83FBFEAB7D91}" dt="2022-02-25T12:20:56.006" v="525" actId="553"/>
          <ac:spMkLst>
            <pc:docMk/>
            <pc:sldMk cId="1769863677" sldId="385"/>
            <ac:spMk id="35" creationId="{BBC7F6AD-6921-4ACF-B45E-17375A3F9F3D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36" creationId="{85521C35-6CE7-4ECC-8F11-10793F43E7FA}"/>
          </ac:spMkLst>
        </pc:spChg>
        <pc:spChg chg="mod">
          <ac:chgData name="Marc Feldkirchner" userId="c4135e70-53ec-4cd4-a1bd-4ca908459c8c" providerId="ADAL" clId="{7F9C2C8A-03C3-431A-BE04-83FBFEAB7D91}" dt="2022-02-25T12:20:56.006" v="525" actId="553"/>
          <ac:spMkLst>
            <pc:docMk/>
            <pc:sldMk cId="1769863677" sldId="385"/>
            <ac:spMk id="39" creationId="{D87F1C78-F62E-42EB-920E-50210B835B8C}"/>
          </ac:spMkLst>
        </pc:spChg>
        <pc:spChg chg="mod">
          <ac:chgData name="Marc Feldkirchner" userId="c4135e70-53ec-4cd4-a1bd-4ca908459c8c" providerId="ADAL" clId="{7F9C2C8A-03C3-431A-BE04-83FBFEAB7D91}" dt="2022-02-25T12:20:56.006" v="525" actId="553"/>
          <ac:spMkLst>
            <pc:docMk/>
            <pc:sldMk cId="1769863677" sldId="385"/>
            <ac:spMk id="40" creationId="{E96176A8-49A1-4A98-B344-E18E879717A3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41" creationId="{D8351968-52D9-4CF5-B1B9-1E5F16DAD8A2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42" creationId="{D9A06F0E-91F5-433D-84E1-E2ADFB411A12}"/>
          </ac:spMkLst>
        </pc:spChg>
        <pc:spChg chg="mod">
          <ac:chgData name="Marc Feldkirchner" userId="c4135e70-53ec-4cd4-a1bd-4ca908459c8c" providerId="ADAL" clId="{7F9C2C8A-03C3-431A-BE04-83FBFEAB7D91}" dt="2022-02-25T12:19:19.343" v="513" actId="20577"/>
          <ac:spMkLst>
            <pc:docMk/>
            <pc:sldMk cId="1769863677" sldId="385"/>
            <ac:spMk id="45" creationId="{0B1198CB-D12B-421A-93D0-8C56312E30F4}"/>
          </ac:spMkLst>
        </pc:spChg>
        <pc:spChg chg="mod">
          <ac:chgData name="Marc Feldkirchner" userId="c4135e70-53ec-4cd4-a1bd-4ca908459c8c" providerId="ADAL" clId="{7F9C2C8A-03C3-431A-BE04-83FBFEAB7D91}" dt="2022-02-25T12:21:00.495" v="531" actId="5793"/>
          <ac:spMkLst>
            <pc:docMk/>
            <pc:sldMk cId="1769863677" sldId="385"/>
            <ac:spMk id="179" creationId="{BA596FC9-79E8-4C8F-B716-4B680640466C}"/>
          </ac:spMkLst>
        </pc:spChg>
        <pc:spChg chg="mod">
          <ac:chgData name="Marc Feldkirchner" userId="c4135e70-53ec-4cd4-a1bd-4ca908459c8c" providerId="ADAL" clId="{7F9C2C8A-03C3-431A-BE04-83FBFEAB7D91}" dt="2022-02-25T12:21:09.062" v="549" actId="5793"/>
          <ac:spMkLst>
            <pc:docMk/>
            <pc:sldMk cId="1769863677" sldId="385"/>
            <ac:spMk id="182" creationId="{BA714521-F0A9-44FA-B5A8-FD27D3EFC840}"/>
          </ac:spMkLst>
        </pc:spChg>
        <pc:spChg chg="mod">
          <ac:chgData name="Marc Feldkirchner" userId="c4135e70-53ec-4cd4-a1bd-4ca908459c8c" providerId="ADAL" clId="{7F9C2C8A-03C3-431A-BE04-83FBFEAB7D91}" dt="2022-02-25T12:20:49.502" v="524" actId="553"/>
          <ac:spMkLst>
            <pc:docMk/>
            <pc:sldMk cId="1769863677" sldId="385"/>
            <ac:spMk id="184" creationId="{F57A899F-DDD4-49AB-B9FC-0358D18E82DF}"/>
          </ac:spMkLst>
        </pc:spChg>
        <pc:spChg chg="mod">
          <ac:chgData name="Marc Feldkirchner" userId="c4135e70-53ec-4cd4-a1bd-4ca908459c8c" providerId="ADAL" clId="{7F9C2C8A-03C3-431A-BE04-83FBFEAB7D91}" dt="2022-02-25T12:21:19.294" v="573" actId="5793"/>
          <ac:spMkLst>
            <pc:docMk/>
            <pc:sldMk cId="1769863677" sldId="385"/>
            <ac:spMk id="185" creationId="{1136CD69-C074-465E-B9C4-D5F64CE0B09B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187" creationId="{9D006762-F0F3-4076-BE97-6124B4FABEA5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188" creationId="{0100F361-9136-43CC-9E16-CF4F0116BC89}"/>
          </ac:spMkLst>
        </pc:spChg>
        <pc:spChg chg="mod">
          <ac:chgData name="Marc Feldkirchner" userId="c4135e70-53ec-4cd4-a1bd-4ca908459c8c" providerId="ADAL" clId="{7F9C2C8A-03C3-431A-BE04-83FBFEAB7D91}" dt="2022-02-25T12:20:49.502" v="524" actId="553"/>
          <ac:spMkLst>
            <pc:docMk/>
            <pc:sldMk cId="1769863677" sldId="385"/>
            <ac:spMk id="190" creationId="{6F267383-00ED-4749-BF8E-39A206F44ECD}"/>
          </ac:spMkLst>
        </pc:spChg>
        <pc:spChg chg="mod">
          <ac:chgData name="Marc Feldkirchner" userId="c4135e70-53ec-4cd4-a1bd-4ca908459c8c" providerId="ADAL" clId="{7F9C2C8A-03C3-431A-BE04-83FBFEAB7D91}" dt="2022-02-25T12:21:12.571" v="555" actId="5793"/>
          <ac:spMkLst>
            <pc:docMk/>
            <pc:sldMk cId="1769863677" sldId="385"/>
            <ac:spMk id="191" creationId="{7ECDB696-7E06-4989-9BAE-8071ABC83A16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193" creationId="{4407F2A3-C74A-414D-8577-CB1F9BFBFCF1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194" creationId="{8BA74258-D9BE-4090-AFA9-5A9656D0DD6E}"/>
          </ac:spMkLst>
        </pc:spChg>
        <pc:spChg chg="mod">
          <ac:chgData name="Marc Feldkirchner" userId="c4135e70-53ec-4cd4-a1bd-4ca908459c8c" providerId="ADAL" clId="{7F9C2C8A-03C3-431A-BE04-83FBFEAB7D91}" dt="2022-02-25T12:21:03.480" v="537" actId="5793"/>
          <ac:spMkLst>
            <pc:docMk/>
            <pc:sldMk cId="1769863677" sldId="385"/>
            <ac:spMk id="197" creationId="{85D1901C-874E-4D64-B494-BF73E5D9949F}"/>
          </ac:spMkLst>
        </pc:spChg>
        <pc:spChg chg="mod">
          <ac:chgData name="Marc Feldkirchner" userId="c4135e70-53ec-4cd4-a1bd-4ca908459c8c" providerId="ADAL" clId="{7F9C2C8A-03C3-431A-BE04-83FBFEAB7D91}" dt="2022-02-25T12:21:06.139" v="543" actId="5793"/>
          <ac:spMkLst>
            <pc:docMk/>
            <pc:sldMk cId="1769863677" sldId="385"/>
            <ac:spMk id="200" creationId="{E72D0F0E-AAD2-486F-8138-31245D0542B4}"/>
          </ac:spMkLst>
        </pc:spChg>
        <pc:spChg chg="mod">
          <ac:chgData name="Marc Feldkirchner" userId="c4135e70-53ec-4cd4-a1bd-4ca908459c8c" providerId="ADAL" clId="{7F9C2C8A-03C3-431A-BE04-83FBFEAB7D91}" dt="2022-02-25T12:20:49.502" v="524" actId="553"/>
          <ac:spMkLst>
            <pc:docMk/>
            <pc:sldMk cId="1769863677" sldId="385"/>
            <ac:spMk id="202" creationId="{F69CD99C-670E-4658-B02C-1E7E62DDFD77}"/>
          </ac:spMkLst>
        </pc:spChg>
        <pc:spChg chg="mod">
          <ac:chgData name="Marc Feldkirchner" userId="c4135e70-53ec-4cd4-a1bd-4ca908459c8c" providerId="ADAL" clId="{7F9C2C8A-03C3-431A-BE04-83FBFEAB7D91}" dt="2022-02-25T12:21:14.960" v="561" actId="5793"/>
          <ac:spMkLst>
            <pc:docMk/>
            <pc:sldMk cId="1769863677" sldId="385"/>
            <ac:spMk id="203" creationId="{759F80D8-6C58-4E1A-B555-224CA4CA6B5B}"/>
          </ac:spMkLst>
        </pc:spChg>
        <pc:spChg chg="mod">
          <ac:chgData name="Marc Feldkirchner" userId="c4135e70-53ec-4cd4-a1bd-4ca908459c8c" providerId="ADAL" clId="{7F9C2C8A-03C3-431A-BE04-83FBFEAB7D91}" dt="2022-02-25T12:20:49.502" v="524" actId="553"/>
          <ac:spMkLst>
            <pc:docMk/>
            <pc:sldMk cId="1769863677" sldId="385"/>
            <ac:spMk id="205" creationId="{AAD21B5D-A139-4009-AB75-BA9E4F6C4C10}"/>
          </ac:spMkLst>
        </pc:spChg>
        <pc:spChg chg="mod">
          <ac:chgData name="Marc Feldkirchner" userId="c4135e70-53ec-4cd4-a1bd-4ca908459c8c" providerId="ADAL" clId="{7F9C2C8A-03C3-431A-BE04-83FBFEAB7D91}" dt="2022-02-25T12:21:17.314" v="567" actId="5793"/>
          <ac:spMkLst>
            <pc:docMk/>
            <pc:sldMk cId="1769863677" sldId="385"/>
            <ac:spMk id="206" creationId="{15F811F0-37F3-4874-9FC1-865B6871A749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208" creationId="{5FC69E20-5CF8-414D-9D04-0FC1C0A0438F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209" creationId="{0DF32D69-996A-4E30-8B25-8743FD9921FC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211" creationId="{D7D67B0B-1B2A-47EF-B324-2111E1A3897F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212" creationId="{FD55FBBA-F3B3-4550-A4BA-838F44C7EDF0}"/>
          </ac:spMkLst>
        </pc:spChg>
      </pc:sldChg>
      <pc:sldChg chg="add del">
        <pc:chgData name="Marc Feldkirchner" userId="c4135e70-53ec-4cd4-a1bd-4ca908459c8c" providerId="ADAL" clId="{7F9C2C8A-03C3-431A-BE04-83FBFEAB7D91}" dt="2022-02-25T11:58:45.193" v="332" actId="47"/>
        <pc:sldMkLst>
          <pc:docMk/>
          <pc:sldMk cId="2913147444" sldId="385"/>
        </pc:sldMkLst>
      </pc:sldChg>
      <pc:sldChg chg="addSp delSp modSp new mod modClrScheme chgLayout">
        <pc:chgData name="Marc Feldkirchner" userId="c4135e70-53ec-4cd4-a1bd-4ca908459c8c" providerId="ADAL" clId="{7F9C2C8A-03C3-431A-BE04-83FBFEAB7D91}" dt="2022-03-10T22:29:32.048" v="1428" actId="242"/>
        <pc:sldMkLst>
          <pc:docMk/>
          <pc:sldMk cId="904502109" sldId="386"/>
        </pc:sldMkLst>
        <pc:spChg chg="del mod ord">
          <ac:chgData name="Marc Feldkirchner" userId="c4135e70-53ec-4cd4-a1bd-4ca908459c8c" providerId="ADAL" clId="{7F9C2C8A-03C3-431A-BE04-83FBFEAB7D91}" dt="2022-03-10T22:16:49.116" v="1221" actId="700"/>
          <ac:spMkLst>
            <pc:docMk/>
            <pc:sldMk cId="904502109" sldId="386"/>
            <ac:spMk id="2" creationId="{57FACB2D-69B0-4C8B-89EA-6C9259B2DDC6}"/>
          </ac:spMkLst>
        </pc:spChg>
        <pc:spChg chg="mod ord">
          <ac:chgData name="Marc Feldkirchner" userId="c4135e70-53ec-4cd4-a1bd-4ca908459c8c" providerId="ADAL" clId="{7F9C2C8A-03C3-431A-BE04-83FBFEAB7D91}" dt="2022-03-10T22:16:49.116" v="1221" actId="700"/>
          <ac:spMkLst>
            <pc:docMk/>
            <pc:sldMk cId="904502109" sldId="386"/>
            <ac:spMk id="3" creationId="{8D1B346C-11BD-4498-9FBF-C88399F9AA81}"/>
          </ac:spMkLst>
        </pc:spChg>
        <pc:spChg chg="del">
          <ac:chgData name="Marc Feldkirchner" userId="c4135e70-53ec-4cd4-a1bd-4ca908459c8c" providerId="ADAL" clId="{7F9C2C8A-03C3-431A-BE04-83FBFEAB7D91}" dt="2022-03-10T22:16:49.116" v="1221" actId="700"/>
          <ac:spMkLst>
            <pc:docMk/>
            <pc:sldMk cId="904502109" sldId="386"/>
            <ac:spMk id="4" creationId="{427E0115-1015-4AE2-AC78-D930C0148FFE}"/>
          </ac:spMkLst>
        </pc:spChg>
        <pc:spChg chg="del mod ord">
          <ac:chgData name="Marc Feldkirchner" userId="c4135e70-53ec-4cd4-a1bd-4ca908459c8c" providerId="ADAL" clId="{7F9C2C8A-03C3-431A-BE04-83FBFEAB7D91}" dt="2022-03-10T22:16:49.116" v="1221" actId="700"/>
          <ac:spMkLst>
            <pc:docMk/>
            <pc:sldMk cId="904502109" sldId="386"/>
            <ac:spMk id="5" creationId="{0FC7A60A-886B-4665-8E9C-B9987AF0F439}"/>
          </ac:spMkLst>
        </pc:spChg>
        <pc:spChg chg="del mod ord">
          <ac:chgData name="Marc Feldkirchner" userId="c4135e70-53ec-4cd4-a1bd-4ca908459c8c" providerId="ADAL" clId="{7F9C2C8A-03C3-431A-BE04-83FBFEAB7D91}" dt="2022-03-10T22:16:49.116" v="1221" actId="700"/>
          <ac:spMkLst>
            <pc:docMk/>
            <pc:sldMk cId="904502109" sldId="386"/>
            <ac:spMk id="6" creationId="{F1DE3ACB-6D81-4300-A8B6-6EBF60BD8BA9}"/>
          </ac:spMkLst>
        </pc:spChg>
        <pc:spChg chg="del">
          <ac:chgData name="Marc Feldkirchner" userId="c4135e70-53ec-4cd4-a1bd-4ca908459c8c" providerId="ADAL" clId="{7F9C2C8A-03C3-431A-BE04-83FBFEAB7D91}" dt="2022-03-10T22:16:49.116" v="1221" actId="700"/>
          <ac:spMkLst>
            <pc:docMk/>
            <pc:sldMk cId="904502109" sldId="386"/>
            <ac:spMk id="7" creationId="{688F6370-0475-4F35-9B1E-78CAE3AC83AB}"/>
          </ac:spMkLst>
        </pc:spChg>
        <pc:spChg chg="add mod ord">
          <ac:chgData name="Marc Feldkirchner" userId="c4135e70-53ec-4cd4-a1bd-4ca908459c8c" providerId="ADAL" clId="{7F9C2C8A-03C3-431A-BE04-83FBFEAB7D91}" dt="2022-03-10T22:16:49.116" v="1221" actId="700"/>
          <ac:spMkLst>
            <pc:docMk/>
            <pc:sldMk cId="904502109" sldId="386"/>
            <ac:spMk id="8" creationId="{DC8EB20D-6664-4CDA-BF8B-636E085332AA}"/>
          </ac:spMkLst>
        </pc:spChg>
        <pc:spChg chg="add mod ord">
          <ac:chgData name="Marc Feldkirchner" userId="c4135e70-53ec-4cd4-a1bd-4ca908459c8c" providerId="ADAL" clId="{7F9C2C8A-03C3-431A-BE04-83FBFEAB7D91}" dt="2022-03-10T22:16:49.116" v="1221" actId="700"/>
          <ac:spMkLst>
            <pc:docMk/>
            <pc:sldMk cId="904502109" sldId="386"/>
            <ac:spMk id="9" creationId="{154405F3-D143-468F-8659-D78DD046B61A}"/>
          </ac:spMkLst>
        </pc:spChg>
        <pc:spChg chg="add del mod ord">
          <ac:chgData name="Marc Feldkirchner" userId="c4135e70-53ec-4cd4-a1bd-4ca908459c8c" providerId="ADAL" clId="{7F9C2C8A-03C3-431A-BE04-83FBFEAB7D91}" dt="2022-03-10T22:16:51.141" v="1222" actId="478"/>
          <ac:spMkLst>
            <pc:docMk/>
            <pc:sldMk cId="904502109" sldId="386"/>
            <ac:spMk id="10" creationId="{53D310E3-11B9-4CDC-8AAE-637AE26A948E}"/>
          </ac:spMkLst>
        </pc:spChg>
        <pc:spChg chg="add mod">
          <ac:chgData name="Marc Feldkirchner" userId="c4135e70-53ec-4cd4-a1bd-4ca908459c8c" providerId="ADAL" clId="{7F9C2C8A-03C3-431A-BE04-83FBFEAB7D91}" dt="2022-03-10T22:28:45.281" v="1412" actId="113"/>
          <ac:spMkLst>
            <pc:docMk/>
            <pc:sldMk cId="904502109" sldId="386"/>
            <ac:spMk id="11" creationId="{334ACC97-AD98-4E80-8406-035418B360B1}"/>
          </ac:spMkLst>
        </pc:spChg>
        <pc:spChg chg="add del mod">
          <ac:chgData name="Marc Feldkirchner" userId="c4135e70-53ec-4cd4-a1bd-4ca908459c8c" providerId="ADAL" clId="{7F9C2C8A-03C3-431A-BE04-83FBFEAB7D91}" dt="2022-03-10T22:19:23.920" v="1248" actId="478"/>
          <ac:spMkLst>
            <pc:docMk/>
            <pc:sldMk cId="904502109" sldId="386"/>
            <ac:spMk id="12" creationId="{0651DE1C-3674-40BB-A138-CEA809B4765C}"/>
          </ac:spMkLst>
        </pc:spChg>
        <pc:spChg chg="add del mod">
          <ac:chgData name="Marc Feldkirchner" userId="c4135e70-53ec-4cd4-a1bd-4ca908459c8c" providerId="ADAL" clId="{7F9C2C8A-03C3-431A-BE04-83FBFEAB7D91}" dt="2022-03-10T22:19:23.920" v="1248" actId="478"/>
          <ac:spMkLst>
            <pc:docMk/>
            <pc:sldMk cId="904502109" sldId="386"/>
            <ac:spMk id="13" creationId="{D117EB88-056C-4629-ADC5-AE7CD92608F3}"/>
          </ac:spMkLst>
        </pc:spChg>
        <pc:spChg chg="add del mod">
          <ac:chgData name="Marc Feldkirchner" userId="c4135e70-53ec-4cd4-a1bd-4ca908459c8c" providerId="ADAL" clId="{7F9C2C8A-03C3-431A-BE04-83FBFEAB7D91}" dt="2022-03-10T22:19:23.920" v="1248" actId="478"/>
          <ac:spMkLst>
            <pc:docMk/>
            <pc:sldMk cId="904502109" sldId="386"/>
            <ac:spMk id="14" creationId="{B8E9A0AD-2C3C-4237-B1A1-37EE25B166E4}"/>
          </ac:spMkLst>
        </pc:spChg>
        <pc:spChg chg="add mod ord">
          <ac:chgData name="Marc Feldkirchner" userId="c4135e70-53ec-4cd4-a1bd-4ca908459c8c" providerId="ADAL" clId="{7F9C2C8A-03C3-431A-BE04-83FBFEAB7D91}" dt="2022-03-10T22:20:23.780" v="1256" actId="166"/>
          <ac:spMkLst>
            <pc:docMk/>
            <pc:sldMk cId="904502109" sldId="386"/>
            <ac:spMk id="15" creationId="{5A96C7BB-7385-48C7-B71F-E8E22481F9F8}"/>
          </ac:spMkLst>
        </pc:spChg>
        <pc:spChg chg="add mod">
          <ac:chgData name="Marc Feldkirchner" userId="c4135e70-53ec-4cd4-a1bd-4ca908459c8c" providerId="ADAL" clId="{7F9C2C8A-03C3-431A-BE04-83FBFEAB7D91}" dt="2022-03-10T22:29:22.415" v="1426" actId="121"/>
          <ac:spMkLst>
            <pc:docMk/>
            <pc:sldMk cId="904502109" sldId="386"/>
            <ac:spMk id="16" creationId="{2F0FF85A-C9FA-43DF-8619-29F764465CCB}"/>
          </ac:spMkLst>
        </pc:spChg>
        <pc:spChg chg="add mod">
          <ac:chgData name="Marc Feldkirchner" userId="c4135e70-53ec-4cd4-a1bd-4ca908459c8c" providerId="ADAL" clId="{7F9C2C8A-03C3-431A-BE04-83FBFEAB7D91}" dt="2022-03-10T22:29:32.048" v="1428" actId="242"/>
          <ac:spMkLst>
            <pc:docMk/>
            <pc:sldMk cId="904502109" sldId="386"/>
            <ac:spMk id="17" creationId="{32B316EB-B7BF-4EDE-8EB0-4D1D9529AB28}"/>
          </ac:spMkLst>
        </pc:spChg>
        <pc:spChg chg="add mod">
          <ac:chgData name="Marc Feldkirchner" userId="c4135e70-53ec-4cd4-a1bd-4ca908459c8c" providerId="ADAL" clId="{7F9C2C8A-03C3-431A-BE04-83FBFEAB7D91}" dt="2022-03-10T22:29:32.048" v="1428" actId="242"/>
          <ac:spMkLst>
            <pc:docMk/>
            <pc:sldMk cId="904502109" sldId="386"/>
            <ac:spMk id="18" creationId="{0280D26E-1EEC-49B1-9E80-A33E530FAC94}"/>
          </ac:spMkLst>
        </pc:spChg>
        <pc:spChg chg="add mod">
          <ac:chgData name="Marc Feldkirchner" userId="c4135e70-53ec-4cd4-a1bd-4ca908459c8c" providerId="ADAL" clId="{7F9C2C8A-03C3-431A-BE04-83FBFEAB7D91}" dt="2022-03-10T22:27:16.339" v="1400" actId="113"/>
          <ac:spMkLst>
            <pc:docMk/>
            <pc:sldMk cId="904502109" sldId="386"/>
            <ac:spMk id="28" creationId="{32A1994B-348B-4C6A-9E5E-EF9F7DA4CAB0}"/>
          </ac:spMkLst>
        </pc:spChg>
        <pc:spChg chg="add mod">
          <ac:chgData name="Marc Feldkirchner" userId="c4135e70-53ec-4cd4-a1bd-4ca908459c8c" providerId="ADAL" clId="{7F9C2C8A-03C3-431A-BE04-83FBFEAB7D91}" dt="2022-03-10T22:27:15.954" v="1399" actId="113"/>
          <ac:spMkLst>
            <pc:docMk/>
            <pc:sldMk cId="904502109" sldId="386"/>
            <ac:spMk id="29" creationId="{6135C559-7193-42E0-A9F7-658CF49ABEC5}"/>
          </ac:spMkLst>
        </pc:spChg>
        <pc:spChg chg="add mod">
          <ac:chgData name="Marc Feldkirchner" userId="c4135e70-53ec-4cd4-a1bd-4ca908459c8c" providerId="ADAL" clId="{7F9C2C8A-03C3-431A-BE04-83FBFEAB7D91}" dt="2022-03-10T22:27:15.042" v="1397" actId="113"/>
          <ac:spMkLst>
            <pc:docMk/>
            <pc:sldMk cId="904502109" sldId="386"/>
            <ac:spMk id="30" creationId="{86553C97-1A86-41C5-9F75-3AA1966D0C8A}"/>
          </ac:spMkLst>
        </pc:spChg>
        <pc:spChg chg="add mod">
          <ac:chgData name="Marc Feldkirchner" userId="c4135e70-53ec-4cd4-a1bd-4ca908459c8c" providerId="ADAL" clId="{7F9C2C8A-03C3-431A-BE04-83FBFEAB7D91}" dt="2022-03-10T22:27:15.391" v="1398" actId="113"/>
          <ac:spMkLst>
            <pc:docMk/>
            <pc:sldMk cId="904502109" sldId="386"/>
            <ac:spMk id="31" creationId="{1476FC46-5407-4B82-9B4F-655F55D8B3D7}"/>
          </ac:spMkLst>
        </pc:spChg>
        <pc:spChg chg="add mod ord">
          <ac:chgData name="Marc Feldkirchner" userId="c4135e70-53ec-4cd4-a1bd-4ca908459c8c" providerId="ADAL" clId="{7F9C2C8A-03C3-431A-BE04-83FBFEAB7D91}" dt="2022-03-10T22:27:36.292" v="1402" actId="1582"/>
          <ac:spMkLst>
            <pc:docMk/>
            <pc:sldMk cId="904502109" sldId="386"/>
            <ac:spMk id="32" creationId="{314C9239-B92F-46F3-BE6B-B8BB9CE763DF}"/>
          </ac:spMkLst>
        </pc:spChg>
        <pc:cxnChg chg="add mod">
          <ac:chgData name="Marc Feldkirchner" userId="c4135e70-53ec-4cd4-a1bd-4ca908459c8c" providerId="ADAL" clId="{7F9C2C8A-03C3-431A-BE04-83FBFEAB7D91}" dt="2022-03-10T22:27:25.305" v="1401" actId="1582"/>
          <ac:cxnSpMkLst>
            <pc:docMk/>
            <pc:sldMk cId="904502109" sldId="386"/>
            <ac:cxnSpMk id="20" creationId="{58C90E7C-E027-4CDC-BDAF-88986B36AC9C}"/>
          </ac:cxnSpMkLst>
        </pc:cxnChg>
        <pc:cxnChg chg="add mod">
          <ac:chgData name="Marc Feldkirchner" userId="c4135e70-53ec-4cd4-a1bd-4ca908459c8c" providerId="ADAL" clId="{7F9C2C8A-03C3-431A-BE04-83FBFEAB7D91}" dt="2022-03-10T22:27:25.305" v="1401" actId="1582"/>
          <ac:cxnSpMkLst>
            <pc:docMk/>
            <pc:sldMk cId="904502109" sldId="386"/>
            <ac:cxnSpMk id="23" creationId="{497782F6-A9C1-4406-9F41-925F871E3A58}"/>
          </ac:cxnSpMkLst>
        </pc:cxnChg>
      </pc:sldChg>
      <pc:sldChg chg="addSp delSp modSp add mod">
        <pc:chgData name="Marc Feldkirchner" userId="c4135e70-53ec-4cd4-a1bd-4ca908459c8c" providerId="ADAL" clId="{7F9C2C8A-03C3-431A-BE04-83FBFEAB7D91}" dt="2022-03-10T22:42:37.128" v="1556" actId="242"/>
        <pc:sldMkLst>
          <pc:docMk/>
          <pc:sldMk cId="1181553170" sldId="387"/>
        </pc:sldMkLst>
        <pc:spChg chg="add del mod">
          <ac:chgData name="Marc Feldkirchner" userId="c4135e70-53ec-4cd4-a1bd-4ca908459c8c" providerId="ADAL" clId="{7F9C2C8A-03C3-431A-BE04-83FBFEAB7D91}" dt="2022-03-10T22:32:10.369" v="1457" actId="478"/>
          <ac:spMkLst>
            <pc:docMk/>
            <pc:sldMk cId="1181553170" sldId="387"/>
            <ac:spMk id="2" creationId="{576F2CA7-A9EB-48B7-B3BD-6CA89CE4038E}"/>
          </ac:spMkLst>
        </pc:spChg>
        <pc:spChg chg="add mod">
          <ac:chgData name="Marc Feldkirchner" userId="c4135e70-53ec-4cd4-a1bd-4ca908459c8c" providerId="ADAL" clId="{7F9C2C8A-03C3-431A-BE04-83FBFEAB7D91}" dt="2022-03-10T22:39:41.161" v="1538" actId="207"/>
          <ac:spMkLst>
            <pc:docMk/>
            <pc:sldMk cId="1181553170" sldId="387"/>
            <ac:spMk id="4" creationId="{E90A3426-F52D-4252-AD3A-82D5539816D5}"/>
          </ac:spMkLst>
        </pc:spChg>
        <pc:spChg chg="add del mod">
          <ac:chgData name="Marc Feldkirchner" userId="c4135e70-53ec-4cd4-a1bd-4ca908459c8c" providerId="ADAL" clId="{7F9C2C8A-03C3-431A-BE04-83FBFEAB7D91}" dt="2022-03-10T22:41:39.888" v="1544" actId="478"/>
          <ac:spMkLst>
            <pc:docMk/>
            <pc:sldMk cId="1181553170" sldId="387"/>
            <ac:spMk id="5" creationId="{DC913BB7-51AD-4B7C-98A3-3ECDC7FF022A}"/>
          </ac:spMkLst>
        </pc:spChg>
        <pc:spChg chg="mod">
          <ac:chgData name="Marc Feldkirchner" userId="c4135e70-53ec-4cd4-a1bd-4ca908459c8c" providerId="ADAL" clId="{7F9C2C8A-03C3-431A-BE04-83FBFEAB7D91}" dt="2022-03-10T22:42:20.163" v="1552" actId="20577"/>
          <ac:spMkLst>
            <pc:docMk/>
            <pc:sldMk cId="1181553170" sldId="387"/>
            <ac:spMk id="11" creationId="{334ACC97-AD98-4E80-8406-035418B360B1}"/>
          </ac:spMkLst>
        </pc:spChg>
        <pc:spChg chg="del">
          <ac:chgData name="Marc Feldkirchner" userId="c4135e70-53ec-4cd4-a1bd-4ca908459c8c" providerId="ADAL" clId="{7F9C2C8A-03C3-431A-BE04-83FBFEAB7D91}" dt="2022-03-10T22:30:05.443" v="1437" actId="478"/>
          <ac:spMkLst>
            <pc:docMk/>
            <pc:sldMk cId="1181553170" sldId="387"/>
            <ac:spMk id="15" creationId="{5A96C7BB-7385-48C7-B71F-E8E22481F9F8}"/>
          </ac:spMkLst>
        </pc:spChg>
        <pc:spChg chg="mod">
          <ac:chgData name="Marc Feldkirchner" userId="c4135e70-53ec-4cd4-a1bd-4ca908459c8c" providerId="ADAL" clId="{7F9C2C8A-03C3-431A-BE04-83FBFEAB7D91}" dt="2022-03-10T22:42:32.007" v="1553"/>
          <ac:spMkLst>
            <pc:docMk/>
            <pc:sldMk cId="1181553170" sldId="387"/>
            <ac:spMk id="16" creationId="{2F0FF85A-C9FA-43DF-8619-29F764465CCB}"/>
          </ac:spMkLst>
        </pc:spChg>
        <pc:spChg chg="mod">
          <ac:chgData name="Marc Feldkirchner" userId="c4135e70-53ec-4cd4-a1bd-4ca908459c8c" providerId="ADAL" clId="{7F9C2C8A-03C3-431A-BE04-83FBFEAB7D91}" dt="2022-03-10T22:42:37.128" v="1556" actId="242"/>
          <ac:spMkLst>
            <pc:docMk/>
            <pc:sldMk cId="1181553170" sldId="387"/>
            <ac:spMk id="17" creationId="{32B316EB-B7BF-4EDE-8EB0-4D1D9529AB28}"/>
          </ac:spMkLst>
        </pc:spChg>
        <pc:spChg chg="mod">
          <ac:chgData name="Marc Feldkirchner" userId="c4135e70-53ec-4cd4-a1bd-4ca908459c8c" providerId="ADAL" clId="{7F9C2C8A-03C3-431A-BE04-83FBFEAB7D91}" dt="2022-03-10T22:42:37.128" v="1556" actId="242"/>
          <ac:spMkLst>
            <pc:docMk/>
            <pc:sldMk cId="1181553170" sldId="387"/>
            <ac:spMk id="18" creationId="{0280D26E-1EEC-49B1-9E80-A33E530FAC94}"/>
          </ac:spMkLst>
        </pc:spChg>
        <pc:spChg chg="add del mod">
          <ac:chgData name="Marc Feldkirchner" userId="c4135e70-53ec-4cd4-a1bd-4ca908459c8c" providerId="ADAL" clId="{7F9C2C8A-03C3-431A-BE04-83FBFEAB7D91}" dt="2022-03-10T22:35:12.955" v="1477" actId="478"/>
          <ac:spMkLst>
            <pc:docMk/>
            <pc:sldMk cId="1181553170" sldId="387"/>
            <ac:spMk id="19" creationId="{4555D528-BE07-4985-9414-4EB813CBE16F}"/>
          </ac:spMkLst>
        </pc:spChg>
        <pc:spChg chg="add del mod">
          <ac:chgData name="Marc Feldkirchner" userId="c4135e70-53ec-4cd4-a1bd-4ca908459c8c" providerId="ADAL" clId="{7F9C2C8A-03C3-431A-BE04-83FBFEAB7D91}" dt="2022-03-10T22:36:27.142" v="1490" actId="478"/>
          <ac:spMkLst>
            <pc:docMk/>
            <pc:sldMk cId="1181553170" sldId="387"/>
            <ac:spMk id="21" creationId="{EA87BF25-9705-49F1-9DB3-8AB2D2D0A54A}"/>
          </ac:spMkLst>
        </pc:spChg>
        <pc:spChg chg="add del mod">
          <ac:chgData name="Marc Feldkirchner" userId="c4135e70-53ec-4cd4-a1bd-4ca908459c8c" providerId="ADAL" clId="{7F9C2C8A-03C3-431A-BE04-83FBFEAB7D91}" dt="2022-03-10T22:34:06.787" v="1474" actId="478"/>
          <ac:spMkLst>
            <pc:docMk/>
            <pc:sldMk cId="1181553170" sldId="387"/>
            <ac:spMk id="22" creationId="{30703BBF-FDE6-4841-8FD6-CF69A26B8B95}"/>
          </ac:spMkLst>
        </pc:spChg>
        <pc:spChg chg="add mod">
          <ac:chgData name="Marc Feldkirchner" userId="c4135e70-53ec-4cd4-a1bd-4ca908459c8c" providerId="ADAL" clId="{7F9C2C8A-03C3-431A-BE04-83FBFEAB7D91}" dt="2022-03-10T22:39:44.981" v="1540" actId="207"/>
          <ac:spMkLst>
            <pc:docMk/>
            <pc:sldMk cId="1181553170" sldId="387"/>
            <ac:spMk id="24" creationId="{8F0EC3A2-11A0-4ADD-B7F5-CD7DA6A0AD7A}"/>
          </ac:spMkLst>
        </pc:spChg>
        <pc:spChg chg="add mod">
          <ac:chgData name="Marc Feldkirchner" userId="c4135e70-53ec-4cd4-a1bd-4ca908459c8c" providerId="ADAL" clId="{7F9C2C8A-03C3-431A-BE04-83FBFEAB7D91}" dt="2022-03-10T22:39:43.163" v="1539" actId="207"/>
          <ac:spMkLst>
            <pc:docMk/>
            <pc:sldMk cId="1181553170" sldId="387"/>
            <ac:spMk id="25" creationId="{8758D3A5-7F31-4CE5-91D6-2C49A175E4BB}"/>
          </ac:spMkLst>
        </pc:spChg>
        <pc:spChg chg="del">
          <ac:chgData name="Marc Feldkirchner" userId="c4135e70-53ec-4cd4-a1bd-4ca908459c8c" providerId="ADAL" clId="{7F9C2C8A-03C3-431A-BE04-83FBFEAB7D91}" dt="2022-03-10T22:30:01.170" v="1434" actId="478"/>
          <ac:spMkLst>
            <pc:docMk/>
            <pc:sldMk cId="1181553170" sldId="387"/>
            <ac:spMk id="28" creationId="{32A1994B-348B-4C6A-9E5E-EF9F7DA4CAB0}"/>
          </ac:spMkLst>
        </pc:spChg>
        <pc:spChg chg="del">
          <ac:chgData name="Marc Feldkirchner" userId="c4135e70-53ec-4cd4-a1bd-4ca908459c8c" providerId="ADAL" clId="{7F9C2C8A-03C3-431A-BE04-83FBFEAB7D91}" dt="2022-03-10T22:30:04.763" v="1436" actId="478"/>
          <ac:spMkLst>
            <pc:docMk/>
            <pc:sldMk cId="1181553170" sldId="387"/>
            <ac:spMk id="29" creationId="{6135C559-7193-42E0-A9F7-658CF49ABEC5}"/>
          </ac:spMkLst>
        </pc:spChg>
        <pc:spChg chg="del">
          <ac:chgData name="Marc Feldkirchner" userId="c4135e70-53ec-4cd4-a1bd-4ca908459c8c" providerId="ADAL" clId="{7F9C2C8A-03C3-431A-BE04-83FBFEAB7D91}" dt="2022-03-10T22:30:07.699" v="1438" actId="478"/>
          <ac:spMkLst>
            <pc:docMk/>
            <pc:sldMk cId="1181553170" sldId="387"/>
            <ac:spMk id="30" creationId="{86553C97-1A86-41C5-9F75-3AA1966D0C8A}"/>
          </ac:spMkLst>
        </pc:spChg>
        <pc:spChg chg="del">
          <ac:chgData name="Marc Feldkirchner" userId="c4135e70-53ec-4cd4-a1bd-4ca908459c8c" providerId="ADAL" clId="{7F9C2C8A-03C3-431A-BE04-83FBFEAB7D91}" dt="2022-03-10T22:30:09.570" v="1439" actId="478"/>
          <ac:spMkLst>
            <pc:docMk/>
            <pc:sldMk cId="1181553170" sldId="387"/>
            <ac:spMk id="31" creationId="{1476FC46-5407-4B82-9B4F-655F55D8B3D7}"/>
          </ac:spMkLst>
        </pc:spChg>
        <pc:spChg chg="del">
          <ac:chgData name="Marc Feldkirchner" userId="c4135e70-53ec-4cd4-a1bd-4ca908459c8c" providerId="ADAL" clId="{7F9C2C8A-03C3-431A-BE04-83FBFEAB7D91}" dt="2022-03-10T22:30:02.235" v="1435" actId="478"/>
          <ac:spMkLst>
            <pc:docMk/>
            <pc:sldMk cId="1181553170" sldId="387"/>
            <ac:spMk id="32" creationId="{314C9239-B92F-46F3-BE6B-B8BB9CE763DF}"/>
          </ac:spMkLst>
        </pc:spChg>
        <pc:cxnChg chg="del">
          <ac:chgData name="Marc Feldkirchner" userId="c4135e70-53ec-4cd4-a1bd-4ca908459c8c" providerId="ADAL" clId="{7F9C2C8A-03C3-431A-BE04-83FBFEAB7D91}" dt="2022-03-10T22:30:11.473" v="1440" actId="478"/>
          <ac:cxnSpMkLst>
            <pc:docMk/>
            <pc:sldMk cId="1181553170" sldId="387"/>
            <ac:cxnSpMk id="20" creationId="{58C90E7C-E027-4CDC-BDAF-88986B36AC9C}"/>
          </ac:cxnSpMkLst>
        </pc:cxnChg>
        <pc:cxnChg chg="del">
          <ac:chgData name="Marc Feldkirchner" userId="c4135e70-53ec-4cd4-a1bd-4ca908459c8c" providerId="ADAL" clId="{7F9C2C8A-03C3-431A-BE04-83FBFEAB7D91}" dt="2022-03-10T22:30:12.276" v="1441" actId="478"/>
          <ac:cxnSpMkLst>
            <pc:docMk/>
            <pc:sldMk cId="1181553170" sldId="387"/>
            <ac:cxnSpMk id="23" creationId="{497782F6-A9C1-4406-9F41-925F871E3A58}"/>
          </ac:cxnSpMkLst>
        </pc:cxnChg>
      </pc:sldChg>
      <pc:sldChg chg="addSp delSp modSp new mod">
        <pc:chgData name="Marc Feldkirchner" userId="c4135e70-53ec-4cd4-a1bd-4ca908459c8c" providerId="ADAL" clId="{7F9C2C8A-03C3-431A-BE04-83FBFEAB7D91}" dt="2022-03-22T16:36:57.699" v="1927" actId="207"/>
        <pc:sldMkLst>
          <pc:docMk/>
          <pc:sldMk cId="2311678989" sldId="388"/>
        </pc:sldMkLst>
        <pc:spChg chg="add del">
          <ac:chgData name="Marc Feldkirchner" userId="c4135e70-53ec-4cd4-a1bd-4ca908459c8c" providerId="ADAL" clId="{7F9C2C8A-03C3-431A-BE04-83FBFEAB7D91}" dt="2022-03-10T22:51:46.653" v="1565" actId="478"/>
          <ac:spMkLst>
            <pc:docMk/>
            <pc:sldMk cId="2311678989" sldId="388"/>
            <ac:spMk id="5" creationId="{9E00F2EC-F3B9-4C4C-AA45-997C98A58BBA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6" creationId="{85548D3B-4E42-4B85-A859-774435A7287C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7" creationId="{2B47A0FC-4F0A-4A97-81B9-CC7C816B4CE4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8" creationId="{393459CB-B68A-4368-9AB5-E1FAB51FDB4C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9" creationId="{557525BD-3C4E-44E3-8768-0D272DA45042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10" creationId="{864F7831-1666-4703-8631-D9271BFF76F8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11" creationId="{17EC888E-064B-4741-B24A-BBDFD2A9BB39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12" creationId="{E29318C6-8AB6-4511-893E-AF1B6F0B3C7D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13" creationId="{DEE4E7AF-A83F-47A4-A309-D4DD5FF0DD76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14" creationId="{BD4F3E6D-D255-44A0-AA51-2E44FC16108B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15" creationId="{EA996ADB-36D4-42C5-AE9E-B0AFCB583AF8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16" creationId="{2B86E561-E07D-4940-921E-AE4B1292A696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17" creationId="{86D4AAB0-5B26-440E-8316-A8D7BE3EE7C8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18" creationId="{3023E1A9-A32E-431C-A17F-D03BD51B2056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19" creationId="{85635916-CC76-4131-80BE-6013A9F7014B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20" creationId="{6D9AEE05-6C10-47A8-8F35-DBBF01701FA5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21" creationId="{535454DB-7876-4BFF-A6D2-892FF7676D89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22" creationId="{73EF9436-5442-4473-874F-46F4F785BA86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23" creationId="{5AD4DE68-66C5-4124-8D5D-186084CB4BC6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24" creationId="{F7D69AA4-1B0B-4F26-886C-E8AFAC96192D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25" creationId="{604A6488-F06A-4275-9820-5A81642BE3F7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26" creationId="{EAF285EB-795A-4E2D-B026-0068E6687004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27" creationId="{83FC65EC-2337-4FBD-81E2-1019C5365212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28" creationId="{8B969B8F-86D9-45A8-AE95-DFE3EBE6A08F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29" creationId="{83290ECB-AE00-4B22-B1A8-C573C395FFB1}"/>
          </ac:spMkLst>
        </pc:spChg>
        <pc:spChg chg="add mod">
          <ac:chgData name="Marc Feldkirchner" userId="c4135e70-53ec-4cd4-a1bd-4ca908459c8c" providerId="ADAL" clId="{7F9C2C8A-03C3-431A-BE04-83FBFEAB7D91}" dt="2022-03-22T16:36:57.699" v="1927" actId="207"/>
          <ac:spMkLst>
            <pc:docMk/>
            <pc:sldMk cId="2311678989" sldId="388"/>
            <ac:spMk id="30" creationId="{BE3297E5-AE0E-42B4-8159-FA1534F72B9C}"/>
          </ac:spMkLst>
        </pc:spChg>
        <pc:spChg chg="add mod">
          <ac:chgData name="Marc Feldkirchner" userId="c4135e70-53ec-4cd4-a1bd-4ca908459c8c" providerId="ADAL" clId="{7F9C2C8A-03C3-431A-BE04-83FBFEAB7D91}" dt="2022-03-22T16:36:57.699" v="1927" actId="207"/>
          <ac:spMkLst>
            <pc:docMk/>
            <pc:sldMk cId="2311678989" sldId="388"/>
            <ac:spMk id="31" creationId="{6EDC7698-EF64-489C-9929-7C58FAA23627}"/>
          </ac:spMkLst>
        </pc:spChg>
        <pc:spChg chg="add mod">
          <ac:chgData name="Marc Feldkirchner" userId="c4135e70-53ec-4cd4-a1bd-4ca908459c8c" providerId="ADAL" clId="{7F9C2C8A-03C3-431A-BE04-83FBFEAB7D91}" dt="2022-03-22T16:36:57.699" v="1927" actId="207"/>
          <ac:spMkLst>
            <pc:docMk/>
            <pc:sldMk cId="2311678989" sldId="388"/>
            <ac:spMk id="32" creationId="{1F35781B-338E-4341-A360-B21420B7C252}"/>
          </ac:spMkLst>
        </pc:spChg>
        <pc:spChg chg="add mod">
          <ac:chgData name="Marc Feldkirchner" userId="c4135e70-53ec-4cd4-a1bd-4ca908459c8c" providerId="ADAL" clId="{7F9C2C8A-03C3-431A-BE04-83FBFEAB7D91}" dt="2022-03-22T16:36:57.699" v="1927" actId="207"/>
          <ac:spMkLst>
            <pc:docMk/>
            <pc:sldMk cId="2311678989" sldId="388"/>
            <ac:spMk id="33" creationId="{CCEBC2A1-65FD-4428-8C64-AC5B5D764F8E}"/>
          </ac:spMkLst>
        </pc:spChg>
        <pc:spChg chg="add mod">
          <ac:chgData name="Marc Feldkirchner" userId="c4135e70-53ec-4cd4-a1bd-4ca908459c8c" providerId="ADAL" clId="{7F9C2C8A-03C3-431A-BE04-83FBFEAB7D91}" dt="2022-03-10T22:51:44.069" v="1564"/>
          <ac:spMkLst>
            <pc:docMk/>
            <pc:sldMk cId="2311678989" sldId="388"/>
            <ac:spMk id="34" creationId="{5831B50F-397D-43E8-A633-79349A991C0D}"/>
          </ac:spMkLst>
        </pc:spChg>
        <pc:spChg chg="add mod">
          <ac:chgData name="Marc Feldkirchner" userId="c4135e70-53ec-4cd4-a1bd-4ca908459c8c" providerId="ADAL" clId="{7F9C2C8A-03C3-431A-BE04-83FBFEAB7D91}" dt="2022-03-10T22:51:44.069" v="1564"/>
          <ac:spMkLst>
            <pc:docMk/>
            <pc:sldMk cId="2311678989" sldId="388"/>
            <ac:spMk id="35" creationId="{30DEEC99-03B7-4009-AE1A-2C6D21EED21A}"/>
          </ac:spMkLst>
        </pc:spChg>
        <pc:spChg chg="add mod">
          <ac:chgData name="Marc Feldkirchner" userId="c4135e70-53ec-4cd4-a1bd-4ca908459c8c" providerId="ADAL" clId="{7F9C2C8A-03C3-431A-BE04-83FBFEAB7D91}" dt="2022-03-10T22:51:44.069" v="1564"/>
          <ac:spMkLst>
            <pc:docMk/>
            <pc:sldMk cId="2311678989" sldId="388"/>
            <ac:spMk id="36" creationId="{6E098A6E-CCF5-4C37-805E-D22AA34926FA}"/>
          </ac:spMkLst>
        </pc:spChg>
        <pc:spChg chg="add mod">
          <ac:chgData name="Marc Feldkirchner" userId="c4135e70-53ec-4cd4-a1bd-4ca908459c8c" providerId="ADAL" clId="{7F9C2C8A-03C3-431A-BE04-83FBFEAB7D91}" dt="2022-03-10T22:55:11.729" v="1658" actId="20577"/>
          <ac:spMkLst>
            <pc:docMk/>
            <pc:sldMk cId="2311678989" sldId="388"/>
            <ac:spMk id="37" creationId="{963C344B-C031-4E50-94A9-F7A42CAE6738}"/>
          </ac:spMkLst>
        </pc:spChg>
        <pc:spChg chg="add mod">
          <ac:chgData name="Marc Feldkirchner" userId="c4135e70-53ec-4cd4-a1bd-4ca908459c8c" providerId="ADAL" clId="{7F9C2C8A-03C3-431A-BE04-83FBFEAB7D91}" dt="2022-03-10T22:55:03.508" v="1655" actId="20577"/>
          <ac:spMkLst>
            <pc:docMk/>
            <pc:sldMk cId="2311678989" sldId="388"/>
            <ac:spMk id="38" creationId="{9F443E4A-7AFD-4BDD-84DC-E180F11EE923}"/>
          </ac:spMkLst>
        </pc:spChg>
        <pc:spChg chg="add mod">
          <ac:chgData name="Marc Feldkirchner" userId="c4135e70-53ec-4cd4-a1bd-4ca908459c8c" providerId="ADAL" clId="{7F9C2C8A-03C3-431A-BE04-83FBFEAB7D91}" dt="2022-03-10T22:55:18.672" v="1662" actId="20577"/>
          <ac:spMkLst>
            <pc:docMk/>
            <pc:sldMk cId="2311678989" sldId="388"/>
            <ac:spMk id="39" creationId="{D04F06B4-69A9-49FB-98AE-8B800DAFD9F2}"/>
          </ac:spMkLst>
        </pc:spChg>
        <pc:spChg chg="add mod">
          <ac:chgData name="Marc Feldkirchner" userId="c4135e70-53ec-4cd4-a1bd-4ca908459c8c" providerId="ADAL" clId="{7F9C2C8A-03C3-431A-BE04-83FBFEAB7D91}" dt="2022-03-10T22:55:22.708" v="1663"/>
          <ac:spMkLst>
            <pc:docMk/>
            <pc:sldMk cId="2311678989" sldId="388"/>
            <ac:spMk id="40" creationId="{330C4038-7BEE-428F-A40E-969513639BBC}"/>
          </ac:spMkLst>
        </pc:spChg>
        <pc:spChg chg="add mod">
          <ac:chgData name="Marc Feldkirchner" userId="c4135e70-53ec-4cd4-a1bd-4ca908459c8c" providerId="ADAL" clId="{7F9C2C8A-03C3-431A-BE04-83FBFEAB7D91}" dt="2022-03-10T23:02:59.369" v="1776" actId="20577"/>
          <ac:spMkLst>
            <pc:docMk/>
            <pc:sldMk cId="2311678989" sldId="388"/>
            <ac:spMk id="41" creationId="{F7ADCE4C-766F-4A61-A91B-3018C69D8BF2}"/>
          </ac:spMkLst>
        </pc:spChg>
        <pc:spChg chg="add del mod">
          <ac:chgData name="Marc Feldkirchner" userId="c4135e70-53ec-4cd4-a1bd-4ca908459c8c" providerId="ADAL" clId="{7F9C2C8A-03C3-431A-BE04-83FBFEAB7D91}" dt="2022-03-10T22:57:03.817" v="1709"/>
          <ac:spMkLst>
            <pc:docMk/>
            <pc:sldMk cId="2311678989" sldId="388"/>
            <ac:spMk id="42" creationId="{D227C4D8-6E84-4F7C-B7F9-C457FCD8613C}"/>
          </ac:spMkLst>
        </pc:spChg>
        <pc:spChg chg="add mod">
          <ac:chgData name="Marc Feldkirchner" userId="c4135e70-53ec-4cd4-a1bd-4ca908459c8c" providerId="ADAL" clId="{7F9C2C8A-03C3-431A-BE04-83FBFEAB7D91}" dt="2022-03-10T23:01:02.831" v="1737" actId="1582"/>
          <ac:spMkLst>
            <pc:docMk/>
            <pc:sldMk cId="2311678989" sldId="388"/>
            <ac:spMk id="43" creationId="{0964E5CB-23B0-4EA3-828F-4D44A740A7C0}"/>
          </ac:spMkLst>
        </pc:spChg>
        <pc:spChg chg="add mod">
          <ac:chgData name="Marc Feldkirchner" userId="c4135e70-53ec-4cd4-a1bd-4ca908459c8c" providerId="ADAL" clId="{7F9C2C8A-03C3-431A-BE04-83FBFEAB7D91}" dt="2022-03-10T23:00:58.044" v="1736" actId="1582"/>
          <ac:spMkLst>
            <pc:docMk/>
            <pc:sldMk cId="2311678989" sldId="388"/>
            <ac:spMk id="44" creationId="{A20BEBB2-E733-437E-A5B0-090FCC1751E9}"/>
          </ac:spMkLst>
        </pc:spChg>
        <pc:spChg chg="add mod">
          <ac:chgData name="Marc Feldkirchner" userId="c4135e70-53ec-4cd4-a1bd-4ca908459c8c" providerId="ADAL" clId="{7F9C2C8A-03C3-431A-BE04-83FBFEAB7D91}" dt="2022-03-10T23:02:00.244" v="1747" actId="20577"/>
          <ac:spMkLst>
            <pc:docMk/>
            <pc:sldMk cId="2311678989" sldId="388"/>
            <ac:spMk id="45" creationId="{5DF7CF15-AFE7-44BB-97E1-20A8EEEDC17B}"/>
          </ac:spMkLst>
        </pc:spChg>
        <pc:spChg chg="add mod">
          <ac:chgData name="Marc Feldkirchner" userId="c4135e70-53ec-4cd4-a1bd-4ca908459c8c" providerId="ADAL" clId="{7F9C2C8A-03C3-431A-BE04-83FBFEAB7D91}" dt="2022-03-10T23:02:04.552" v="1751" actId="20577"/>
          <ac:spMkLst>
            <pc:docMk/>
            <pc:sldMk cId="2311678989" sldId="388"/>
            <ac:spMk id="46" creationId="{F8B3645E-9EE0-49C3-9E43-F37CBD04A71F}"/>
          </ac:spMkLst>
        </pc:spChg>
      </pc:sldChg>
      <pc:sldChg chg="addSp delSp modSp new mod">
        <pc:chgData name="Marc Feldkirchner" userId="c4135e70-53ec-4cd4-a1bd-4ca908459c8c" providerId="ADAL" clId="{7F9C2C8A-03C3-431A-BE04-83FBFEAB7D91}" dt="2022-03-22T16:37:07.363" v="1928" actId="207"/>
        <pc:sldMkLst>
          <pc:docMk/>
          <pc:sldMk cId="1686671835" sldId="389"/>
        </pc:sldMkLst>
        <pc:spChg chg="del">
          <ac:chgData name="Marc Feldkirchner" userId="c4135e70-53ec-4cd4-a1bd-4ca908459c8c" providerId="ADAL" clId="{7F9C2C8A-03C3-431A-BE04-83FBFEAB7D91}" dt="2022-03-10T23:03:34.611" v="1778" actId="478"/>
          <ac:spMkLst>
            <pc:docMk/>
            <pc:sldMk cId="1686671835" sldId="389"/>
            <ac:spMk id="5" creationId="{45916DC5-EFC3-4C2A-A3C5-150C2E3E056B}"/>
          </ac:spMkLst>
        </pc:spChg>
        <pc:spChg chg="add del mod">
          <ac:chgData name="Marc Feldkirchner" userId="c4135e70-53ec-4cd4-a1bd-4ca908459c8c" providerId="ADAL" clId="{7F9C2C8A-03C3-431A-BE04-83FBFEAB7D91}" dt="2022-03-10T23:11:33.323" v="1817" actId="478"/>
          <ac:spMkLst>
            <pc:docMk/>
            <pc:sldMk cId="1686671835" sldId="389"/>
            <ac:spMk id="6" creationId="{A50863EF-482A-4EB4-86AE-0390AB9E4162}"/>
          </ac:spMkLst>
        </pc:spChg>
        <pc:spChg chg="add del mod">
          <ac:chgData name="Marc Feldkirchner" userId="c4135e70-53ec-4cd4-a1bd-4ca908459c8c" providerId="ADAL" clId="{7F9C2C8A-03C3-431A-BE04-83FBFEAB7D91}" dt="2022-03-10T23:11:33.323" v="1817" actId="478"/>
          <ac:spMkLst>
            <pc:docMk/>
            <pc:sldMk cId="1686671835" sldId="389"/>
            <ac:spMk id="7" creationId="{4D355E39-4260-4E2A-BB75-F2B80B64B600}"/>
          </ac:spMkLst>
        </pc:spChg>
        <pc:spChg chg="add del mod">
          <ac:chgData name="Marc Feldkirchner" userId="c4135e70-53ec-4cd4-a1bd-4ca908459c8c" providerId="ADAL" clId="{7F9C2C8A-03C3-431A-BE04-83FBFEAB7D91}" dt="2022-03-10T23:11:33.323" v="1817" actId="478"/>
          <ac:spMkLst>
            <pc:docMk/>
            <pc:sldMk cId="1686671835" sldId="389"/>
            <ac:spMk id="8" creationId="{D0D76F08-C981-4E9F-9F8A-CE02CA1A3382}"/>
          </ac:spMkLst>
        </pc:spChg>
        <pc:spChg chg="add del mod">
          <ac:chgData name="Marc Feldkirchner" userId="c4135e70-53ec-4cd4-a1bd-4ca908459c8c" providerId="ADAL" clId="{7F9C2C8A-03C3-431A-BE04-83FBFEAB7D91}" dt="2022-03-10T23:11:33.323" v="1817" actId="478"/>
          <ac:spMkLst>
            <pc:docMk/>
            <pc:sldMk cId="1686671835" sldId="389"/>
            <ac:spMk id="9" creationId="{D9A0569B-BEDC-48C5-B787-1CB93444FC1B}"/>
          </ac:spMkLst>
        </pc:spChg>
        <pc:spChg chg="add del mod">
          <ac:chgData name="Marc Feldkirchner" userId="c4135e70-53ec-4cd4-a1bd-4ca908459c8c" providerId="ADAL" clId="{7F9C2C8A-03C3-431A-BE04-83FBFEAB7D91}" dt="2022-03-10T23:11:33.323" v="1817" actId="478"/>
          <ac:spMkLst>
            <pc:docMk/>
            <pc:sldMk cId="1686671835" sldId="389"/>
            <ac:spMk id="10" creationId="{6BDF7228-1CE8-4681-A4BC-2AEB94D8EB80}"/>
          </ac:spMkLst>
        </pc:spChg>
        <pc:spChg chg="add del mod">
          <ac:chgData name="Marc Feldkirchner" userId="c4135e70-53ec-4cd4-a1bd-4ca908459c8c" providerId="ADAL" clId="{7F9C2C8A-03C3-431A-BE04-83FBFEAB7D91}" dt="2022-03-10T23:07:14.923" v="1800" actId="478"/>
          <ac:spMkLst>
            <pc:docMk/>
            <pc:sldMk cId="1686671835" sldId="389"/>
            <ac:spMk id="11" creationId="{8DA50315-0150-4B12-8178-CEDE1C4A3842}"/>
          </ac:spMkLst>
        </pc:spChg>
        <pc:spChg chg="add del mod">
          <ac:chgData name="Marc Feldkirchner" userId="c4135e70-53ec-4cd4-a1bd-4ca908459c8c" providerId="ADAL" clId="{7F9C2C8A-03C3-431A-BE04-83FBFEAB7D91}" dt="2022-03-10T23:11:33.323" v="1817" actId="478"/>
          <ac:spMkLst>
            <pc:docMk/>
            <pc:sldMk cId="1686671835" sldId="389"/>
            <ac:spMk id="12" creationId="{4C424BB6-01AC-4141-A3E3-D7EDEED2C88E}"/>
          </ac:spMkLst>
        </pc:spChg>
        <pc:spChg chg="add del mod">
          <ac:chgData name="Marc Feldkirchner" userId="c4135e70-53ec-4cd4-a1bd-4ca908459c8c" providerId="ADAL" clId="{7F9C2C8A-03C3-431A-BE04-83FBFEAB7D91}" dt="2022-03-10T23:11:33.323" v="1817" actId="478"/>
          <ac:spMkLst>
            <pc:docMk/>
            <pc:sldMk cId="1686671835" sldId="389"/>
            <ac:spMk id="13" creationId="{12D53166-B630-4FC3-80B8-4A00E58DC3E0}"/>
          </ac:spMkLst>
        </pc:spChg>
        <pc:spChg chg="add mod">
          <ac:chgData name="Marc Feldkirchner" userId="c4135e70-53ec-4cd4-a1bd-4ca908459c8c" providerId="ADAL" clId="{7F9C2C8A-03C3-431A-BE04-83FBFEAB7D91}" dt="2022-03-22T16:37:07.363" v="1928" actId="207"/>
          <ac:spMkLst>
            <pc:docMk/>
            <pc:sldMk cId="1686671835" sldId="389"/>
            <ac:spMk id="14" creationId="{7C6400BC-7F08-4F74-8319-B48FDA55F922}"/>
          </ac:spMkLst>
        </pc:spChg>
        <pc:spChg chg="add mod">
          <ac:chgData name="Marc Feldkirchner" userId="c4135e70-53ec-4cd4-a1bd-4ca908459c8c" providerId="ADAL" clId="{7F9C2C8A-03C3-431A-BE04-83FBFEAB7D91}" dt="2022-03-10T23:11:50.063" v="1818"/>
          <ac:spMkLst>
            <pc:docMk/>
            <pc:sldMk cId="1686671835" sldId="389"/>
            <ac:spMk id="15" creationId="{A89F10CF-9FC3-4A02-8180-635B2E8B4DA3}"/>
          </ac:spMkLst>
        </pc:spChg>
        <pc:spChg chg="add mod">
          <ac:chgData name="Marc Feldkirchner" userId="c4135e70-53ec-4cd4-a1bd-4ca908459c8c" providerId="ADAL" clId="{7F9C2C8A-03C3-431A-BE04-83FBFEAB7D91}" dt="2022-03-10T23:11:50.063" v="1818"/>
          <ac:spMkLst>
            <pc:docMk/>
            <pc:sldMk cId="1686671835" sldId="389"/>
            <ac:spMk id="16" creationId="{E5E9D55A-0FF6-4CDA-8EB0-80E5EFF77451}"/>
          </ac:spMkLst>
        </pc:spChg>
        <pc:spChg chg="add mod">
          <ac:chgData name="Marc Feldkirchner" userId="c4135e70-53ec-4cd4-a1bd-4ca908459c8c" providerId="ADAL" clId="{7F9C2C8A-03C3-431A-BE04-83FBFEAB7D91}" dt="2022-03-10T23:11:50.063" v="1818"/>
          <ac:spMkLst>
            <pc:docMk/>
            <pc:sldMk cId="1686671835" sldId="389"/>
            <ac:spMk id="17" creationId="{E73D23E6-4D75-46E2-90B8-3CA45214828A}"/>
          </ac:spMkLst>
        </pc:spChg>
        <pc:spChg chg="add mod">
          <ac:chgData name="Marc Feldkirchner" userId="c4135e70-53ec-4cd4-a1bd-4ca908459c8c" providerId="ADAL" clId="{7F9C2C8A-03C3-431A-BE04-83FBFEAB7D91}" dt="2022-03-10T23:11:50.063" v="1818"/>
          <ac:spMkLst>
            <pc:docMk/>
            <pc:sldMk cId="1686671835" sldId="389"/>
            <ac:spMk id="18" creationId="{30B1B273-A32E-4C3F-9366-90E5A074B94B}"/>
          </ac:spMkLst>
        </pc:spChg>
        <pc:spChg chg="add mod">
          <ac:chgData name="Marc Feldkirchner" userId="c4135e70-53ec-4cd4-a1bd-4ca908459c8c" providerId="ADAL" clId="{7F9C2C8A-03C3-431A-BE04-83FBFEAB7D91}" dt="2022-03-10T23:11:50.063" v="1818"/>
          <ac:spMkLst>
            <pc:docMk/>
            <pc:sldMk cId="1686671835" sldId="389"/>
            <ac:spMk id="19" creationId="{BC062910-7863-4F68-B8D5-559D342FD067}"/>
          </ac:spMkLst>
        </pc:spChg>
        <pc:spChg chg="add mod">
          <ac:chgData name="Marc Feldkirchner" userId="c4135e70-53ec-4cd4-a1bd-4ca908459c8c" providerId="ADAL" clId="{7F9C2C8A-03C3-431A-BE04-83FBFEAB7D91}" dt="2022-03-10T23:11:50.063" v="1818"/>
          <ac:spMkLst>
            <pc:docMk/>
            <pc:sldMk cId="1686671835" sldId="389"/>
            <ac:spMk id="20" creationId="{0981766C-C4B7-44D4-8342-E9045C4289CF}"/>
          </ac:spMkLst>
        </pc:spChg>
        <pc:spChg chg="add mod">
          <ac:chgData name="Marc Feldkirchner" userId="c4135e70-53ec-4cd4-a1bd-4ca908459c8c" providerId="ADAL" clId="{7F9C2C8A-03C3-431A-BE04-83FBFEAB7D91}" dt="2022-03-22T16:37:07.363" v="1928" actId="207"/>
          <ac:spMkLst>
            <pc:docMk/>
            <pc:sldMk cId="1686671835" sldId="389"/>
            <ac:spMk id="21" creationId="{39107F13-30D7-413B-87E8-DE5D97AFD3B0}"/>
          </ac:spMkLst>
        </pc:spChg>
        <pc:spChg chg="add mod">
          <ac:chgData name="Marc Feldkirchner" userId="c4135e70-53ec-4cd4-a1bd-4ca908459c8c" providerId="ADAL" clId="{7F9C2C8A-03C3-431A-BE04-83FBFEAB7D91}" dt="2022-03-22T16:37:07.363" v="1928" actId="207"/>
          <ac:spMkLst>
            <pc:docMk/>
            <pc:sldMk cId="1686671835" sldId="389"/>
            <ac:spMk id="22" creationId="{0D1C4E47-AE40-49A8-928F-B74C1741E81F}"/>
          </ac:spMkLst>
        </pc:spChg>
        <pc:spChg chg="add mod">
          <ac:chgData name="Marc Feldkirchner" userId="c4135e70-53ec-4cd4-a1bd-4ca908459c8c" providerId="ADAL" clId="{7F9C2C8A-03C3-431A-BE04-83FBFEAB7D91}" dt="2022-03-22T16:37:07.363" v="1928" actId="207"/>
          <ac:spMkLst>
            <pc:docMk/>
            <pc:sldMk cId="1686671835" sldId="389"/>
            <ac:spMk id="23" creationId="{F8DD51B0-8779-4C4F-9E7E-EC56DD0F6496}"/>
          </ac:spMkLst>
        </pc:spChg>
        <pc:spChg chg="add mod">
          <ac:chgData name="Marc Feldkirchner" userId="c4135e70-53ec-4cd4-a1bd-4ca908459c8c" providerId="ADAL" clId="{7F9C2C8A-03C3-431A-BE04-83FBFEAB7D91}" dt="2022-03-22T16:37:07.363" v="1928" actId="207"/>
          <ac:spMkLst>
            <pc:docMk/>
            <pc:sldMk cId="1686671835" sldId="389"/>
            <ac:spMk id="24" creationId="{B9A1CFB7-19C4-490E-8112-E4D541094EA9}"/>
          </ac:spMkLst>
        </pc:spChg>
        <pc:spChg chg="add mod">
          <ac:chgData name="Marc Feldkirchner" userId="c4135e70-53ec-4cd4-a1bd-4ca908459c8c" providerId="ADAL" clId="{7F9C2C8A-03C3-431A-BE04-83FBFEAB7D91}" dt="2022-03-10T23:11:50.063" v="1818"/>
          <ac:spMkLst>
            <pc:docMk/>
            <pc:sldMk cId="1686671835" sldId="389"/>
            <ac:spMk id="25" creationId="{07A56B59-2789-4C14-B438-3119F0B18523}"/>
          </ac:spMkLst>
        </pc:spChg>
        <pc:spChg chg="add mod">
          <ac:chgData name="Marc Feldkirchner" userId="c4135e70-53ec-4cd4-a1bd-4ca908459c8c" providerId="ADAL" clId="{7F9C2C8A-03C3-431A-BE04-83FBFEAB7D91}" dt="2022-03-10T23:12:00.588" v="1819"/>
          <ac:spMkLst>
            <pc:docMk/>
            <pc:sldMk cId="1686671835" sldId="389"/>
            <ac:spMk id="26" creationId="{04642A44-47EF-4068-8C44-E51348021107}"/>
          </ac:spMkLst>
        </pc:spChg>
      </pc:sldChg>
      <pc:sldChg chg="addSp delSp modSp new del mod">
        <pc:chgData name="Marc Feldkirchner" userId="c4135e70-53ec-4cd4-a1bd-4ca908459c8c" providerId="ADAL" clId="{7F9C2C8A-03C3-431A-BE04-83FBFEAB7D91}" dt="2022-03-10T23:21:32.167" v="1926" actId="47"/>
        <pc:sldMkLst>
          <pc:docMk/>
          <pc:sldMk cId="1234178274" sldId="390"/>
        </pc:sldMkLst>
        <pc:spChg chg="mod">
          <ac:chgData name="Marc Feldkirchner" userId="c4135e70-53ec-4cd4-a1bd-4ca908459c8c" providerId="ADAL" clId="{7F9C2C8A-03C3-431A-BE04-83FBFEAB7D91}" dt="2022-03-10T23:20:46.592" v="1925" actId="20577"/>
          <ac:spMkLst>
            <pc:docMk/>
            <pc:sldMk cId="1234178274" sldId="390"/>
            <ac:spMk id="4" creationId="{F4C005A1-7EF7-46AA-8DA1-54CF78E0483C}"/>
          </ac:spMkLst>
        </pc:spChg>
        <pc:spChg chg="del">
          <ac:chgData name="Marc Feldkirchner" userId="c4135e70-53ec-4cd4-a1bd-4ca908459c8c" providerId="ADAL" clId="{7F9C2C8A-03C3-431A-BE04-83FBFEAB7D91}" dt="2022-03-10T23:13:30.746" v="1822" actId="478"/>
          <ac:spMkLst>
            <pc:docMk/>
            <pc:sldMk cId="1234178274" sldId="390"/>
            <ac:spMk id="5" creationId="{55C5CEEB-75B3-40D4-8FA6-C86AA41223B7}"/>
          </ac:spMkLst>
        </pc:spChg>
        <pc:spChg chg="add mod ord">
          <ac:chgData name="Marc Feldkirchner" userId="c4135e70-53ec-4cd4-a1bd-4ca908459c8c" providerId="ADAL" clId="{7F9C2C8A-03C3-431A-BE04-83FBFEAB7D91}" dt="2022-03-10T23:19:50.219" v="1918" actId="166"/>
          <ac:spMkLst>
            <pc:docMk/>
            <pc:sldMk cId="1234178274" sldId="390"/>
            <ac:spMk id="6" creationId="{3FD8723F-A846-4B35-9E7F-900C563E6B85}"/>
          </ac:spMkLst>
        </pc:spChg>
        <pc:spChg chg="add mod">
          <ac:chgData name="Marc Feldkirchner" userId="c4135e70-53ec-4cd4-a1bd-4ca908459c8c" providerId="ADAL" clId="{7F9C2C8A-03C3-431A-BE04-83FBFEAB7D91}" dt="2022-03-10T23:18:59.383" v="1904" actId="14100"/>
          <ac:spMkLst>
            <pc:docMk/>
            <pc:sldMk cId="1234178274" sldId="390"/>
            <ac:spMk id="7" creationId="{6E97859D-5278-4E3A-8C75-61D6EAF0A567}"/>
          </ac:spMkLst>
        </pc:spChg>
        <pc:spChg chg="add del mod">
          <ac:chgData name="Marc Feldkirchner" userId="c4135e70-53ec-4cd4-a1bd-4ca908459c8c" providerId="ADAL" clId="{7F9C2C8A-03C3-431A-BE04-83FBFEAB7D91}" dt="2022-03-10T23:15:08.065" v="1860" actId="478"/>
          <ac:spMkLst>
            <pc:docMk/>
            <pc:sldMk cId="1234178274" sldId="390"/>
            <ac:spMk id="8" creationId="{1C210CF5-9A4B-49E4-AB81-EF219C774C4B}"/>
          </ac:spMkLst>
        </pc:spChg>
        <pc:spChg chg="add del mod">
          <ac:chgData name="Marc Feldkirchner" userId="c4135e70-53ec-4cd4-a1bd-4ca908459c8c" providerId="ADAL" clId="{7F9C2C8A-03C3-431A-BE04-83FBFEAB7D91}" dt="2022-03-10T23:15:02.486" v="1859" actId="478"/>
          <ac:spMkLst>
            <pc:docMk/>
            <pc:sldMk cId="1234178274" sldId="390"/>
            <ac:spMk id="9" creationId="{2CC53D6D-140F-421E-B077-41EF5FEFF795}"/>
          </ac:spMkLst>
        </pc:spChg>
        <pc:spChg chg="add del mod">
          <ac:chgData name="Marc Feldkirchner" userId="c4135e70-53ec-4cd4-a1bd-4ca908459c8c" providerId="ADAL" clId="{7F9C2C8A-03C3-431A-BE04-83FBFEAB7D91}" dt="2022-03-10T23:18:18.274" v="1885" actId="478"/>
          <ac:spMkLst>
            <pc:docMk/>
            <pc:sldMk cId="1234178274" sldId="390"/>
            <ac:spMk id="10" creationId="{B71D777D-0FFC-49DC-9F21-95D26E63C756}"/>
          </ac:spMkLst>
        </pc:spChg>
        <pc:spChg chg="add del mod">
          <ac:chgData name="Marc Feldkirchner" userId="c4135e70-53ec-4cd4-a1bd-4ca908459c8c" providerId="ADAL" clId="{7F9C2C8A-03C3-431A-BE04-83FBFEAB7D91}" dt="2022-03-10T23:15:27.615" v="1868"/>
          <ac:spMkLst>
            <pc:docMk/>
            <pc:sldMk cId="1234178274" sldId="390"/>
            <ac:spMk id="11" creationId="{483AC63B-C4C2-40C5-A6DA-74F3F2AD147E}"/>
          </ac:spMkLst>
        </pc:spChg>
        <pc:spChg chg="add del mod">
          <ac:chgData name="Marc Feldkirchner" userId="c4135e70-53ec-4cd4-a1bd-4ca908459c8c" providerId="ADAL" clId="{7F9C2C8A-03C3-431A-BE04-83FBFEAB7D91}" dt="2022-03-10T23:18:19.823" v="1886" actId="478"/>
          <ac:spMkLst>
            <pc:docMk/>
            <pc:sldMk cId="1234178274" sldId="390"/>
            <ac:spMk id="12" creationId="{AA32834A-374E-419C-A9E9-09282C3F7703}"/>
          </ac:spMkLst>
        </pc:spChg>
        <pc:spChg chg="add del mod">
          <ac:chgData name="Marc Feldkirchner" userId="c4135e70-53ec-4cd4-a1bd-4ca908459c8c" providerId="ADAL" clId="{7F9C2C8A-03C3-431A-BE04-83FBFEAB7D91}" dt="2022-03-10T23:18:20.424" v="1887" actId="478"/>
          <ac:spMkLst>
            <pc:docMk/>
            <pc:sldMk cId="1234178274" sldId="390"/>
            <ac:spMk id="13" creationId="{740A5D30-1A98-4AE3-9CB5-F32DB0930A35}"/>
          </ac:spMkLst>
        </pc:spChg>
        <pc:spChg chg="add mod">
          <ac:chgData name="Marc Feldkirchner" userId="c4135e70-53ec-4cd4-a1bd-4ca908459c8c" providerId="ADAL" clId="{7F9C2C8A-03C3-431A-BE04-83FBFEAB7D91}" dt="2022-03-10T23:20:26.870" v="1921" actId="2085"/>
          <ac:spMkLst>
            <pc:docMk/>
            <pc:sldMk cId="1234178274" sldId="390"/>
            <ac:spMk id="14" creationId="{C4AE7761-D890-412A-B5D3-AF6F861113A0}"/>
          </ac:spMkLst>
        </pc:spChg>
        <pc:spChg chg="add mod">
          <ac:chgData name="Marc Feldkirchner" userId="c4135e70-53ec-4cd4-a1bd-4ca908459c8c" providerId="ADAL" clId="{7F9C2C8A-03C3-431A-BE04-83FBFEAB7D91}" dt="2022-03-10T23:20:26.870" v="1921" actId="2085"/>
          <ac:spMkLst>
            <pc:docMk/>
            <pc:sldMk cId="1234178274" sldId="390"/>
            <ac:spMk id="15" creationId="{E5E91F03-D3D5-44E5-96CD-B8050B43185A}"/>
          </ac:spMkLst>
        </pc:spChg>
        <pc:spChg chg="add mod">
          <ac:chgData name="Marc Feldkirchner" userId="c4135e70-53ec-4cd4-a1bd-4ca908459c8c" providerId="ADAL" clId="{7F9C2C8A-03C3-431A-BE04-83FBFEAB7D91}" dt="2022-03-10T23:20:26.870" v="1921" actId="2085"/>
          <ac:spMkLst>
            <pc:docMk/>
            <pc:sldMk cId="1234178274" sldId="390"/>
            <ac:spMk id="16" creationId="{ED4CEF6E-355A-447E-BD1A-2322757E0812}"/>
          </ac:spMkLst>
        </pc:spChg>
      </pc:sldChg>
      <pc:sldChg chg="new del">
        <pc:chgData name="Marc Feldkirchner" userId="c4135e70-53ec-4cd4-a1bd-4ca908459c8c" providerId="ADAL" clId="{7F9C2C8A-03C3-431A-BE04-83FBFEAB7D91}" dt="2022-03-22T16:40:13.439" v="1932" actId="47"/>
        <pc:sldMkLst>
          <pc:docMk/>
          <pc:sldMk cId="2304590944" sldId="390"/>
        </pc:sldMkLst>
      </pc:sldChg>
      <pc:sldChg chg="add">
        <pc:chgData name="Marc Feldkirchner" userId="c4135e70-53ec-4cd4-a1bd-4ca908459c8c" providerId="ADAL" clId="{7F9C2C8A-03C3-431A-BE04-83FBFEAB7D91}" dt="2022-03-22T16:37:26.282" v="1930"/>
        <pc:sldMkLst>
          <pc:docMk/>
          <pc:sldMk cId="590577401" sldId="391"/>
        </pc:sldMkLst>
      </pc:sldChg>
      <pc:sldChg chg="add">
        <pc:chgData name="Marc Feldkirchner" userId="c4135e70-53ec-4cd4-a1bd-4ca908459c8c" providerId="ADAL" clId="{7F9C2C8A-03C3-431A-BE04-83FBFEAB7D91}" dt="2022-03-22T16:40:06.620" v="1931"/>
        <pc:sldMkLst>
          <pc:docMk/>
          <pc:sldMk cId="2824741347" sldId="422"/>
        </pc:sldMkLst>
      </pc:sldChg>
      <pc:sldChg chg="add">
        <pc:chgData name="Marc Feldkirchner" userId="c4135e70-53ec-4cd4-a1bd-4ca908459c8c" providerId="ADAL" clId="{7F9C2C8A-03C3-431A-BE04-83FBFEAB7D91}" dt="2022-03-22T16:40:06.620" v="1931"/>
        <pc:sldMkLst>
          <pc:docMk/>
          <pc:sldMk cId="737801744" sldId="424"/>
        </pc:sldMkLst>
      </pc:sldChg>
    </pc:docChg>
  </pc:docChgLst>
  <pc:docChgLst>
    <pc:chgData name="Marc Feldkirchner" userId="c4135e70-53ec-4cd4-a1bd-4ca908459c8c" providerId="ADAL" clId="{13982556-6D2C-4CE3-8E38-9974EF6CBC97}"/>
    <pc:docChg chg="custSel modSld">
      <pc:chgData name="Marc Feldkirchner" userId="c4135e70-53ec-4cd4-a1bd-4ca908459c8c" providerId="ADAL" clId="{13982556-6D2C-4CE3-8E38-9974EF6CBC97}" dt="2021-11-22T17:34:59.398" v="6" actId="478"/>
      <pc:docMkLst>
        <pc:docMk/>
      </pc:docMkLst>
      <pc:sldChg chg="addSp delSp modSp mod">
        <pc:chgData name="Marc Feldkirchner" userId="c4135e70-53ec-4cd4-a1bd-4ca908459c8c" providerId="ADAL" clId="{13982556-6D2C-4CE3-8E38-9974EF6CBC97}" dt="2021-11-22T17:34:59.398" v="6" actId="478"/>
        <pc:sldMkLst>
          <pc:docMk/>
          <pc:sldMk cId="1758373318" sldId="373"/>
        </pc:sldMkLst>
        <pc:spChg chg="add del mod">
          <ac:chgData name="Marc Feldkirchner" userId="c4135e70-53ec-4cd4-a1bd-4ca908459c8c" providerId="ADAL" clId="{13982556-6D2C-4CE3-8E38-9974EF6CBC97}" dt="2021-11-22T17:34:59.398" v="6" actId="478"/>
          <ac:spMkLst>
            <pc:docMk/>
            <pc:sldMk cId="1758373318" sldId="373"/>
            <ac:spMk id="2" creationId="{1A0E5516-4350-449F-8F1B-8BD66ADC7CE0}"/>
          </ac:spMkLst>
        </pc:spChg>
      </pc:sldChg>
    </pc:docChg>
  </pc:docChgLst>
  <pc:docChgLst>
    <pc:chgData name="Marc Feldkirchner" userId="c4135e70-53ec-4cd4-a1bd-4ca908459c8c" providerId="ADAL" clId="{16CCBD85-F179-4CAE-94FA-02D29450FF29}"/>
    <pc:docChg chg="undo redo custSel addSld delSld modSld modMainMaster modSection">
      <pc:chgData name="Marc Feldkirchner" userId="c4135e70-53ec-4cd4-a1bd-4ca908459c8c" providerId="ADAL" clId="{16CCBD85-F179-4CAE-94FA-02D29450FF29}" dt="2021-11-25T17:00:18.264" v="825" actId="47"/>
      <pc:docMkLst>
        <pc:docMk/>
      </pc:docMkLst>
      <pc:sldChg chg="modSp mod">
        <pc:chgData name="Marc Feldkirchner" userId="c4135e70-53ec-4cd4-a1bd-4ca908459c8c" providerId="ADAL" clId="{16CCBD85-F179-4CAE-94FA-02D29450FF29}" dt="2021-11-25T16:20:16.091" v="182" actId="20577"/>
        <pc:sldMkLst>
          <pc:docMk/>
          <pc:sldMk cId="947004393" sldId="336"/>
        </pc:sldMkLst>
        <pc:spChg chg="mod">
          <ac:chgData name="Marc Feldkirchner" userId="c4135e70-53ec-4cd4-a1bd-4ca908459c8c" providerId="ADAL" clId="{16CCBD85-F179-4CAE-94FA-02D29450FF29}" dt="2021-11-25T16:19:24.168" v="108" actId="20577"/>
          <ac:spMkLst>
            <pc:docMk/>
            <pc:sldMk cId="947004393" sldId="336"/>
            <ac:spMk id="13" creationId="{62B6EAAC-0294-4866-B44D-C1EFE7ACA4E5}"/>
          </ac:spMkLst>
        </pc:spChg>
        <pc:spChg chg="mod">
          <ac:chgData name="Marc Feldkirchner" userId="c4135e70-53ec-4cd4-a1bd-4ca908459c8c" providerId="ADAL" clId="{16CCBD85-F179-4CAE-94FA-02D29450FF29}" dt="2021-11-25T16:20:16.091" v="182" actId="20577"/>
          <ac:spMkLst>
            <pc:docMk/>
            <pc:sldMk cId="947004393" sldId="336"/>
            <ac:spMk id="14" creationId="{B07F6F48-85B6-4FFA-9856-27CF4F35ACE8}"/>
          </ac:spMkLst>
        </pc:spChg>
      </pc:sldChg>
      <pc:sldChg chg="addSp delSp modSp mod">
        <pc:chgData name="Marc Feldkirchner" userId="c4135e70-53ec-4cd4-a1bd-4ca908459c8c" providerId="ADAL" clId="{16CCBD85-F179-4CAE-94FA-02D29450FF29}" dt="2021-11-22T19:37:33.932" v="45" actId="478"/>
        <pc:sldMkLst>
          <pc:docMk/>
          <pc:sldMk cId="3038720959" sldId="339"/>
        </pc:sldMkLst>
        <pc:spChg chg="add del mod">
          <ac:chgData name="Marc Feldkirchner" userId="c4135e70-53ec-4cd4-a1bd-4ca908459c8c" providerId="ADAL" clId="{16CCBD85-F179-4CAE-94FA-02D29450FF29}" dt="2021-11-22T19:37:33.932" v="45" actId="478"/>
          <ac:spMkLst>
            <pc:docMk/>
            <pc:sldMk cId="3038720959" sldId="339"/>
            <ac:spMk id="5" creationId="{5D935855-B113-4D71-AAD5-959164DCCDE8}"/>
          </ac:spMkLst>
        </pc:spChg>
        <pc:spChg chg="add del mod ord">
          <ac:chgData name="Marc Feldkirchner" userId="c4135e70-53ec-4cd4-a1bd-4ca908459c8c" providerId="ADAL" clId="{16CCBD85-F179-4CAE-94FA-02D29450FF29}" dt="2021-11-22T19:37:32.869" v="43" actId="11529"/>
          <ac:spMkLst>
            <pc:docMk/>
            <pc:sldMk cId="3038720959" sldId="339"/>
            <ac:spMk id="6" creationId="{083EC10A-CC31-4FA6-B22E-5907C1B100B0}"/>
          </ac:spMkLst>
        </pc:spChg>
        <pc:spChg chg="add del mod">
          <ac:chgData name="Marc Feldkirchner" userId="c4135e70-53ec-4cd4-a1bd-4ca908459c8c" providerId="ADAL" clId="{16CCBD85-F179-4CAE-94FA-02D29450FF29}" dt="2021-11-22T19:37:30.633" v="37"/>
          <ac:spMkLst>
            <pc:docMk/>
            <pc:sldMk cId="3038720959" sldId="339"/>
            <ac:spMk id="10" creationId="{53EC3E6D-2AFD-4319-85C1-851E0F22B81F}"/>
          </ac:spMkLst>
        </pc:spChg>
        <pc:spChg chg="add del">
          <ac:chgData name="Marc Feldkirchner" userId="c4135e70-53ec-4cd4-a1bd-4ca908459c8c" providerId="ADAL" clId="{16CCBD85-F179-4CAE-94FA-02D29450FF29}" dt="2021-11-22T19:37:33.932" v="45" actId="478"/>
          <ac:spMkLst>
            <pc:docMk/>
            <pc:sldMk cId="3038720959" sldId="339"/>
            <ac:spMk id="42" creationId="{E509F2C9-0253-4180-81FE-61E462E5DE0C}"/>
          </ac:spMkLst>
        </pc:spChg>
      </pc:sldChg>
      <pc:sldChg chg="modSp mod">
        <pc:chgData name="Marc Feldkirchner" userId="c4135e70-53ec-4cd4-a1bd-4ca908459c8c" providerId="ADAL" clId="{16CCBD85-F179-4CAE-94FA-02D29450FF29}" dt="2021-11-22T19:35:51.277" v="19" actId="18131"/>
        <pc:sldMkLst>
          <pc:docMk/>
          <pc:sldMk cId="1630686082" sldId="359"/>
        </pc:sldMkLst>
        <pc:picChg chg="mod modCrop">
          <ac:chgData name="Marc Feldkirchner" userId="c4135e70-53ec-4cd4-a1bd-4ca908459c8c" providerId="ADAL" clId="{16CCBD85-F179-4CAE-94FA-02D29450FF29}" dt="2021-11-22T19:35:51.277" v="19" actId="18131"/>
          <ac:picMkLst>
            <pc:docMk/>
            <pc:sldMk cId="1630686082" sldId="359"/>
            <ac:picMk id="7" creationId="{4FAC6C64-5A05-4E53-A3AE-BAF0ADC8936E}"/>
          </ac:picMkLst>
        </pc:picChg>
      </pc:sldChg>
      <pc:sldChg chg="addSp delSp modSp new del mod modClrScheme chgLayout">
        <pc:chgData name="Marc Feldkirchner" userId="c4135e70-53ec-4cd4-a1bd-4ca908459c8c" providerId="ADAL" clId="{16CCBD85-F179-4CAE-94FA-02D29450FF29}" dt="2021-11-25T16:20:51.127" v="187" actId="47"/>
        <pc:sldMkLst>
          <pc:docMk/>
          <pc:sldMk cId="1568714577" sldId="377"/>
        </pc:sldMkLst>
        <pc:spChg chg="del">
          <ac:chgData name="Marc Feldkirchner" userId="c4135e70-53ec-4cd4-a1bd-4ca908459c8c" providerId="ADAL" clId="{16CCBD85-F179-4CAE-94FA-02D29450FF29}" dt="2021-11-25T16:19:49.523" v="140" actId="700"/>
          <ac:spMkLst>
            <pc:docMk/>
            <pc:sldMk cId="1568714577" sldId="377"/>
            <ac:spMk id="2" creationId="{1FAF53C3-F96C-408F-877C-180D324166F6}"/>
          </ac:spMkLst>
        </pc:spChg>
        <pc:spChg chg="del mod ord">
          <ac:chgData name="Marc Feldkirchner" userId="c4135e70-53ec-4cd4-a1bd-4ca908459c8c" providerId="ADAL" clId="{16CCBD85-F179-4CAE-94FA-02D29450FF29}" dt="2021-11-25T16:19:49.523" v="140" actId="700"/>
          <ac:spMkLst>
            <pc:docMk/>
            <pc:sldMk cId="1568714577" sldId="377"/>
            <ac:spMk id="3" creationId="{AF3C2731-8977-4B69-86FF-969699303030}"/>
          </ac:spMkLst>
        </pc:spChg>
        <pc:spChg chg="del mod ord">
          <ac:chgData name="Marc Feldkirchner" userId="c4135e70-53ec-4cd4-a1bd-4ca908459c8c" providerId="ADAL" clId="{16CCBD85-F179-4CAE-94FA-02D29450FF29}" dt="2021-11-25T16:19:49.523" v="140" actId="700"/>
          <ac:spMkLst>
            <pc:docMk/>
            <pc:sldMk cId="1568714577" sldId="377"/>
            <ac:spMk id="4" creationId="{2E14F474-302B-4AFC-8C43-95003DA779D1}"/>
          </ac:spMkLst>
        </pc:spChg>
        <pc:spChg chg="add mod ord">
          <ac:chgData name="Marc Feldkirchner" userId="c4135e70-53ec-4cd4-a1bd-4ca908459c8c" providerId="ADAL" clId="{16CCBD85-F179-4CAE-94FA-02D29450FF29}" dt="2021-11-25T16:20:42.642" v="185" actId="700"/>
          <ac:spMkLst>
            <pc:docMk/>
            <pc:sldMk cId="1568714577" sldId="377"/>
            <ac:spMk id="5" creationId="{739D3F06-99D0-4042-8D11-1304878128FE}"/>
          </ac:spMkLst>
        </pc:spChg>
        <pc:spChg chg="add del mod ord">
          <ac:chgData name="Marc Feldkirchner" userId="c4135e70-53ec-4cd4-a1bd-4ca908459c8c" providerId="ADAL" clId="{16CCBD85-F179-4CAE-94FA-02D29450FF29}" dt="2021-11-25T16:19:52.361" v="141" actId="478"/>
          <ac:spMkLst>
            <pc:docMk/>
            <pc:sldMk cId="1568714577" sldId="377"/>
            <ac:spMk id="6" creationId="{0BD740EF-081D-4341-ACF9-3BA8562C3E50}"/>
          </ac:spMkLst>
        </pc:spChg>
        <pc:spChg chg="add mod ord">
          <ac:chgData name="Marc Feldkirchner" userId="c4135e70-53ec-4cd4-a1bd-4ca908459c8c" providerId="ADAL" clId="{16CCBD85-F179-4CAE-94FA-02D29450FF29}" dt="2021-11-25T16:20:42.642" v="185" actId="700"/>
          <ac:spMkLst>
            <pc:docMk/>
            <pc:sldMk cId="1568714577" sldId="377"/>
            <ac:spMk id="7" creationId="{12A05980-FD40-4F86-9F7E-BA59FDE8A56C}"/>
          </ac:spMkLst>
        </pc:spChg>
        <pc:spChg chg="add del mod ord">
          <ac:chgData name="Marc Feldkirchner" userId="c4135e70-53ec-4cd4-a1bd-4ca908459c8c" providerId="ADAL" clId="{16CCBD85-F179-4CAE-94FA-02D29450FF29}" dt="2021-11-25T16:20:20.962" v="183" actId="478"/>
          <ac:spMkLst>
            <pc:docMk/>
            <pc:sldMk cId="1568714577" sldId="377"/>
            <ac:spMk id="8" creationId="{A062541B-E078-4577-AB61-B74D6B5EAA16}"/>
          </ac:spMkLst>
        </pc:spChg>
        <pc:spChg chg="add del mod ord">
          <ac:chgData name="Marc Feldkirchner" userId="c4135e70-53ec-4cd4-a1bd-4ca908459c8c" providerId="ADAL" clId="{16CCBD85-F179-4CAE-94FA-02D29450FF29}" dt="2021-11-25T16:20:42.642" v="185" actId="700"/>
          <ac:spMkLst>
            <pc:docMk/>
            <pc:sldMk cId="1568714577" sldId="377"/>
            <ac:spMk id="9" creationId="{398C2E27-DBEE-4664-A156-A0A31D03EBA5}"/>
          </ac:spMkLst>
        </pc:spChg>
        <pc:spChg chg="add del mod ord">
          <ac:chgData name="Marc Feldkirchner" userId="c4135e70-53ec-4cd4-a1bd-4ca908459c8c" providerId="ADAL" clId="{16CCBD85-F179-4CAE-94FA-02D29450FF29}" dt="2021-11-25T16:20:42.642" v="185" actId="700"/>
          <ac:spMkLst>
            <pc:docMk/>
            <pc:sldMk cId="1568714577" sldId="377"/>
            <ac:spMk id="10" creationId="{57BAD265-379B-45B7-804A-2288FB314936}"/>
          </ac:spMkLst>
        </pc:spChg>
        <pc:spChg chg="add mod ord">
          <ac:chgData name="Marc Feldkirchner" userId="c4135e70-53ec-4cd4-a1bd-4ca908459c8c" providerId="ADAL" clId="{16CCBD85-F179-4CAE-94FA-02D29450FF29}" dt="2021-11-25T16:20:42.642" v="185" actId="700"/>
          <ac:spMkLst>
            <pc:docMk/>
            <pc:sldMk cId="1568714577" sldId="377"/>
            <ac:spMk id="11" creationId="{C152643D-D6DC-465F-BAF9-E85A94278CD7}"/>
          </ac:spMkLst>
        </pc:spChg>
      </pc:sldChg>
      <pc:sldChg chg="addSp delSp modSp new mod">
        <pc:chgData name="Marc Feldkirchner" userId="c4135e70-53ec-4cd4-a1bd-4ca908459c8c" providerId="ADAL" clId="{16CCBD85-F179-4CAE-94FA-02D29450FF29}" dt="2021-11-25T16:36:03.341" v="420" actId="113"/>
        <pc:sldMkLst>
          <pc:docMk/>
          <pc:sldMk cId="2497184076" sldId="378"/>
        </pc:sldMkLst>
        <pc:spChg chg="del">
          <ac:chgData name="Marc Feldkirchner" userId="c4135e70-53ec-4cd4-a1bd-4ca908459c8c" providerId="ADAL" clId="{16CCBD85-F179-4CAE-94FA-02D29450FF29}" dt="2021-11-25T16:21:05.094" v="216" actId="478"/>
          <ac:spMkLst>
            <pc:docMk/>
            <pc:sldMk cId="2497184076" sldId="378"/>
            <ac:spMk id="2" creationId="{0B227CD9-70EC-4BC5-9082-F4E2D4BCB31B}"/>
          </ac:spMkLst>
        </pc:spChg>
        <pc:spChg chg="mod">
          <ac:chgData name="Marc Feldkirchner" userId="c4135e70-53ec-4cd4-a1bd-4ca908459c8c" providerId="ADAL" clId="{16CCBD85-F179-4CAE-94FA-02D29450FF29}" dt="2021-11-25T16:21:01.554" v="215" actId="20577"/>
          <ac:spMkLst>
            <pc:docMk/>
            <pc:sldMk cId="2497184076" sldId="378"/>
            <ac:spMk id="4" creationId="{B2C9882B-435C-4959-AAA6-F27692243B46}"/>
          </ac:spMkLst>
        </pc:spChg>
        <pc:spChg chg="del">
          <ac:chgData name="Marc Feldkirchner" userId="c4135e70-53ec-4cd4-a1bd-4ca908459c8c" providerId="ADAL" clId="{16CCBD85-F179-4CAE-94FA-02D29450FF29}" dt="2021-11-25T16:21:07.401" v="217" actId="478"/>
          <ac:spMkLst>
            <pc:docMk/>
            <pc:sldMk cId="2497184076" sldId="378"/>
            <ac:spMk id="5" creationId="{E0418B13-6791-4B2C-84A5-869DF5B77C72}"/>
          </ac:spMkLst>
        </pc:spChg>
        <pc:spChg chg="mod">
          <ac:chgData name="Marc Feldkirchner" userId="c4135e70-53ec-4cd4-a1bd-4ca908459c8c" providerId="ADAL" clId="{16CCBD85-F179-4CAE-94FA-02D29450FF29}" dt="2021-11-25T16:20:54.736" v="197" actId="20577"/>
          <ac:spMkLst>
            <pc:docMk/>
            <pc:sldMk cId="2497184076" sldId="378"/>
            <ac:spMk id="6" creationId="{A9274C40-E085-4A80-ADFD-0A0BCEA441BC}"/>
          </ac:spMkLst>
        </pc:spChg>
        <pc:spChg chg="add mod topLvl">
          <ac:chgData name="Marc Feldkirchner" userId="c4135e70-53ec-4cd4-a1bd-4ca908459c8c" providerId="ADAL" clId="{16CCBD85-F179-4CAE-94FA-02D29450FF29}" dt="2021-11-25T16:35:23.696" v="412" actId="165"/>
          <ac:spMkLst>
            <pc:docMk/>
            <pc:sldMk cId="2497184076" sldId="378"/>
            <ac:spMk id="7" creationId="{F8A9BF32-9A1F-479C-A4A2-E822B340D0FB}"/>
          </ac:spMkLst>
        </pc:spChg>
        <pc:spChg chg="add mod topLvl">
          <ac:chgData name="Marc Feldkirchner" userId="c4135e70-53ec-4cd4-a1bd-4ca908459c8c" providerId="ADAL" clId="{16CCBD85-F179-4CAE-94FA-02D29450FF29}" dt="2021-11-25T16:35:28.459" v="413" actId="113"/>
          <ac:spMkLst>
            <pc:docMk/>
            <pc:sldMk cId="2497184076" sldId="378"/>
            <ac:spMk id="8" creationId="{6FC00559-51C7-40C0-93F5-65FA0D4F8CF4}"/>
          </ac:spMkLst>
        </pc:spChg>
        <pc:spChg chg="add mod topLvl">
          <ac:chgData name="Marc Feldkirchner" userId="c4135e70-53ec-4cd4-a1bd-4ca908459c8c" providerId="ADAL" clId="{16CCBD85-F179-4CAE-94FA-02D29450FF29}" dt="2021-11-25T16:35:23.696" v="412" actId="165"/>
          <ac:spMkLst>
            <pc:docMk/>
            <pc:sldMk cId="2497184076" sldId="378"/>
            <ac:spMk id="9" creationId="{69B90412-4391-4D30-B7D1-90258928F6EB}"/>
          </ac:spMkLst>
        </pc:spChg>
        <pc:spChg chg="add mod">
          <ac:chgData name="Marc Feldkirchner" userId="c4135e70-53ec-4cd4-a1bd-4ca908459c8c" providerId="ADAL" clId="{16CCBD85-F179-4CAE-94FA-02D29450FF29}" dt="2021-11-25T16:34:59.073" v="409" actId="1076"/>
          <ac:spMkLst>
            <pc:docMk/>
            <pc:sldMk cId="2497184076" sldId="378"/>
            <ac:spMk id="10" creationId="{7A141C31-F668-415A-B4AA-1AD8755ED907}"/>
          </ac:spMkLst>
        </pc:spChg>
        <pc:spChg chg="add del mod">
          <ac:chgData name="Marc Feldkirchner" userId="c4135e70-53ec-4cd4-a1bd-4ca908459c8c" providerId="ADAL" clId="{16CCBD85-F179-4CAE-94FA-02D29450FF29}" dt="2021-11-25T16:22:54.514" v="301" actId="478"/>
          <ac:spMkLst>
            <pc:docMk/>
            <pc:sldMk cId="2497184076" sldId="378"/>
            <ac:spMk id="11" creationId="{214BF1E9-E07E-40A7-940A-0E9C240C12B9}"/>
          </ac:spMkLst>
        </pc:spChg>
        <pc:spChg chg="add mod">
          <ac:chgData name="Marc Feldkirchner" userId="c4135e70-53ec-4cd4-a1bd-4ca908459c8c" providerId="ADAL" clId="{16CCBD85-F179-4CAE-94FA-02D29450FF29}" dt="2021-11-25T16:36:03.341" v="420" actId="113"/>
          <ac:spMkLst>
            <pc:docMk/>
            <pc:sldMk cId="2497184076" sldId="378"/>
            <ac:spMk id="13" creationId="{82C62855-B095-4A54-87E4-C5DD9E1F69F2}"/>
          </ac:spMkLst>
        </pc:spChg>
        <pc:grpChg chg="add del mod">
          <ac:chgData name="Marc Feldkirchner" userId="c4135e70-53ec-4cd4-a1bd-4ca908459c8c" providerId="ADAL" clId="{16CCBD85-F179-4CAE-94FA-02D29450FF29}" dt="2021-11-25T16:35:23.696" v="412" actId="165"/>
          <ac:grpSpMkLst>
            <pc:docMk/>
            <pc:sldMk cId="2497184076" sldId="378"/>
            <ac:grpSpMk id="12" creationId="{810DE27D-6554-4ACB-A74F-1FC88EB7BA77}"/>
          </ac:grpSpMkLst>
        </pc:grpChg>
      </pc:sldChg>
      <pc:sldChg chg="addSp delSp modSp add mod">
        <pc:chgData name="Marc Feldkirchner" userId="c4135e70-53ec-4cd4-a1bd-4ca908459c8c" providerId="ADAL" clId="{16CCBD85-F179-4CAE-94FA-02D29450FF29}" dt="2021-11-25T17:00:05.317" v="824"/>
        <pc:sldMkLst>
          <pc:docMk/>
          <pc:sldMk cId="941330492" sldId="379"/>
        </pc:sldMkLst>
        <pc:spChg chg="add mod">
          <ac:chgData name="Marc Feldkirchner" userId="c4135e70-53ec-4cd4-a1bd-4ca908459c8c" providerId="ADAL" clId="{16CCBD85-F179-4CAE-94FA-02D29450FF29}" dt="2021-11-25T16:58:07.187" v="802" actId="207"/>
          <ac:spMkLst>
            <pc:docMk/>
            <pc:sldMk cId="941330492" sldId="379"/>
            <ac:spMk id="2" creationId="{BBF08E8E-964B-4DAE-BD80-34ECA5816C93}"/>
          </ac:spMkLst>
        </pc:spChg>
        <pc:spChg chg="add mod">
          <ac:chgData name="Marc Feldkirchner" userId="c4135e70-53ec-4cd4-a1bd-4ca908459c8c" providerId="ADAL" clId="{16CCBD85-F179-4CAE-94FA-02D29450FF29}" dt="2021-11-25T16:58:20.977" v="805" actId="20577"/>
          <ac:spMkLst>
            <pc:docMk/>
            <pc:sldMk cId="941330492" sldId="379"/>
            <ac:spMk id="5" creationId="{FC749C7A-50AF-4D14-8905-F32AB45E9596}"/>
          </ac:spMkLst>
        </pc:spChg>
        <pc:spChg chg="mod">
          <ac:chgData name="Marc Feldkirchner" userId="c4135e70-53ec-4cd4-a1bd-4ca908459c8c" providerId="ADAL" clId="{16CCBD85-F179-4CAE-94FA-02D29450FF29}" dt="2021-11-25T16:50:13.940" v="603" actId="20577"/>
          <ac:spMkLst>
            <pc:docMk/>
            <pc:sldMk cId="941330492" sldId="379"/>
            <ac:spMk id="6" creationId="{A9274C40-E085-4A80-ADFD-0A0BCEA441BC}"/>
          </ac:spMkLst>
        </pc:spChg>
        <pc:spChg chg="add del mod">
          <ac:chgData name="Marc Feldkirchner" userId="c4135e70-53ec-4cd4-a1bd-4ca908459c8c" providerId="ADAL" clId="{16CCBD85-F179-4CAE-94FA-02D29450FF29}" dt="2021-11-25T16:46:16.254" v="537" actId="478"/>
          <ac:spMkLst>
            <pc:docMk/>
            <pc:sldMk cId="941330492" sldId="379"/>
            <ac:spMk id="7" creationId="{604B2638-D425-4CFD-B65D-C18DCAE33FDF}"/>
          </ac:spMkLst>
        </pc:spChg>
        <pc:spChg chg="add del mod">
          <ac:chgData name="Marc Feldkirchner" userId="c4135e70-53ec-4cd4-a1bd-4ca908459c8c" providerId="ADAL" clId="{16CCBD85-F179-4CAE-94FA-02D29450FF29}" dt="2021-11-25T16:46:16.254" v="537" actId="478"/>
          <ac:spMkLst>
            <pc:docMk/>
            <pc:sldMk cId="941330492" sldId="379"/>
            <ac:spMk id="8" creationId="{9692419D-21C9-4FB3-8DDA-BC5CB0B426D3}"/>
          </ac:spMkLst>
        </pc:spChg>
        <pc:spChg chg="add del mod">
          <ac:chgData name="Marc Feldkirchner" userId="c4135e70-53ec-4cd4-a1bd-4ca908459c8c" providerId="ADAL" clId="{16CCBD85-F179-4CAE-94FA-02D29450FF29}" dt="2021-11-25T16:46:16.254" v="537" actId="478"/>
          <ac:spMkLst>
            <pc:docMk/>
            <pc:sldMk cId="941330492" sldId="379"/>
            <ac:spMk id="9" creationId="{7D5AE716-7E86-4F20-8172-45615B84BA11}"/>
          </ac:spMkLst>
        </pc:spChg>
        <pc:spChg chg="add del mod">
          <ac:chgData name="Marc Feldkirchner" userId="c4135e70-53ec-4cd4-a1bd-4ca908459c8c" providerId="ADAL" clId="{16CCBD85-F179-4CAE-94FA-02D29450FF29}" dt="2021-11-25T16:46:16.254" v="537" actId="478"/>
          <ac:spMkLst>
            <pc:docMk/>
            <pc:sldMk cId="941330492" sldId="379"/>
            <ac:spMk id="10" creationId="{D388226E-3E58-43B4-999E-28EAA8E71723}"/>
          </ac:spMkLst>
        </pc:spChg>
        <pc:spChg chg="add del mod">
          <ac:chgData name="Marc Feldkirchner" userId="c4135e70-53ec-4cd4-a1bd-4ca908459c8c" providerId="ADAL" clId="{16CCBD85-F179-4CAE-94FA-02D29450FF29}" dt="2021-11-25T16:39:21.311" v="475" actId="478"/>
          <ac:spMkLst>
            <pc:docMk/>
            <pc:sldMk cId="941330492" sldId="379"/>
            <ac:spMk id="11" creationId="{04FCF8D9-9284-49AD-9F47-C0224EFDB361}"/>
          </ac:spMkLst>
        </pc:spChg>
        <pc:spChg chg="add mod">
          <ac:chgData name="Marc Feldkirchner" userId="c4135e70-53ec-4cd4-a1bd-4ca908459c8c" providerId="ADAL" clId="{16CCBD85-F179-4CAE-94FA-02D29450FF29}" dt="2021-11-25T16:59:10.740" v="817" actId="207"/>
          <ac:spMkLst>
            <pc:docMk/>
            <pc:sldMk cId="941330492" sldId="379"/>
            <ac:spMk id="12" creationId="{23060116-439C-4F92-91A6-51953D835258}"/>
          </ac:spMkLst>
        </pc:spChg>
        <pc:spChg chg="add mod">
          <ac:chgData name="Marc Feldkirchner" userId="c4135e70-53ec-4cd4-a1bd-4ca908459c8c" providerId="ADAL" clId="{16CCBD85-F179-4CAE-94FA-02D29450FF29}" dt="2021-11-25T16:59:23.331" v="819" actId="207"/>
          <ac:spMkLst>
            <pc:docMk/>
            <pc:sldMk cId="941330492" sldId="379"/>
            <ac:spMk id="13" creationId="{0BF4BDD5-4947-40C6-BB83-1269181F2508}"/>
          </ac:spMkLst>
        </pc:spChg>
        <pc:spChg chg="add mod">
          <ac:chgData name="Marc Feldkirchner" userId="c4135e70-53ec-4cd4-a1bd-4ca908459c8c" providerId="ADAL" clId="{16CCBD85-F179-4CAE-94FA-02D29450FF29}" dt="2021-11-25T16:51:43.432" v="666" actId="1036"/>
          <ac:spMkLst>
            <pc:docMk/>
            <pc:sldMk cId="941330492" sldId="379"/>
            <ac:spMk id="14" creationId="{87F51B93-1C12-4868-A6EC-CC179B953CA5}"/>
          </ac:spMkLst>
        </pc:spChg>
        <pc:spChg chg="add mod">
          <ac:chgData name="Marc Feldkirchner" userId="c4135e70-53ec-4cd4-a1bd-4ca908459c8c" providerId="ADAL" clId="{16CCBD85-F179-4CAE-94FA-02D29450FF29}" dt="2021-11-25T16:59:54.223" v="822" actId="207"/>
          <ac:spMkLst>
            <pc:docMk/>
            <pc:sldMk cId="941330492" sldId="379"/>
            <ac:spMk id="15" creationId="{C6DD6111-757B-48AB-9961-8813AFE74ABD}"/>
          </ac:spMkLst>
        </pc:spChg>
        <pc:spChg chg="add mod">
          <ac:chgData name="Marc Feldkirchner" userId="c4135e70-53ec-4cd4-a1bd-4ca908459c8c" providerId="ADAL" clId="{16CCBD85-F179-4CAE-94FA-02D29450FF29}" dt="2021-11-25T16:51:43.432" v="666" actId="1036"/>
          <ac:spMkLst>
            <pc:docMk/>
            <pc:sldMk cId="941330492" sldId="379"/>
            <ac:spMk id="16" creationId="{E4BC8FEE-B4C1-4BF4-9C29-96CBAEF4E0F7}"/>
          </ac:spMkLst>
        </pc:spChg>
        <pc:spChg chg="add del mod">
          <ac:chgData name="Marc Feldkirchner" userId="c4135e70-53ec-4cd4-a1bd-4ca908459c8c" providerId="ADAL" clId="{16CCBD85-F179-4CAE-94FA-02D29450FF29}" dt="2021-11-25T16:47:45.416" v="570" actId="478"/>
          <ac:spMkLst>
            <pc:docMk/>
            <pc:sldMk cId="941330492" sldId="379"/>
            <ac:spMk id="17" creationId="{E06E7552-0A00-4667-B7D3-16196C11FD2B}"/>
          </ac:spMkLst>
        </pc:spChg>
        <pc:spChg chg="add del mod">
          <ac:chgData name="Marc Feldkirchner" userId="c4135e70-53ec-4cd4-a1bd-4ca908459c8c" providerId="ADAL" clId="{16CCBD85-F179-4CAE-94FA-02D29450FF29}" dt="2021-11-25T16:47:45.416" v="570" actId="478"/>
          <ac:spMkLst>
            <pc:docMk/>
            <pc:sldMk cId="941330492" sldId="379"/>
            <ac:spMk id="18" creationId="{DE296650-4418-4C38-873E-0398A079087A}"/>
          </ac:spMkLst>
        </pc:spChg>
        <pc:spChg chg="add mod">
          <ac:chgData name="Marc Feldkirchner" userId="c4135e70-53ec-4cd4-a1bd-4ca908459c8c" providerId="ADAL" clId="{16CCBD85-F179-4CAE-94FA-02D29450FF29}" dt="2021-11-25T16:58:50.083" v="813" actId="207"/>
          <ac:spMkLst>
            <pc:docMk/>
            <pc:sldMk cId="941330492" sldId="379"/>
            <ac:spMk id="19" creationId="{076B3D28-B011-42A7-B81D-F07DF7BA339C}"/>
          </ac:spMkLst>
        </pc:spChg>
        <pc:spChg chg="add mod">
          <ac:chgData name="Marc Feldkirchner" userId="c4135e70-53ec-4cd4-a1bd-4ca908459c8c" providerId="ADAL" clId="{16CCBD85-F179-4CAE-94FA-02D29450FF29}" dt="2021-11-25T16:59:00.136" v="815" actId="207"/>
          <ac:spMkLst>
            <pc:docMk/>
            <pc:sldMk cId="941330492" sldId="379"/>
            <ac:spMk id="20" creationId="{01EFA1C3-1830-472E-9DBC-03A116C455DA}"/>
          </ac:spMkLst>
        </pc:spChg>
        <pc:spChg chg="add mod">
          <ac:chgData name="Marc Feldkirchner" userId="c4135e70-53ec-4cd4-a1bd-4ca908459c8c" providerId="ADAL" clId="{16CCBD85-F179-4CAE-94FA-02D29450FF29}" dt="2021-11-25T16:58:51.536" v="814"/>
          <ac:spMkLst>
            <pc:docMk/>
            <pc:sldMk cId="941330492" sldId="379"/>
            <ac:spMk id="21" creationId="{8E6D8DA8-99CA-490B-B542-6535EE2035E5}"/>
          </ac:spMkLst>
        </pc:spChg>
        <pc:spChg chg="add mod">
          <ac:chgData name="Marc Feldkirchner" userId="c4135e70-53ec-4cd4-a1bd-4ca908459c8c" providerId="ADAL" clId="{16CCBD85-F179-4CAE-94FA-02D29450FF29}" dt="2021-11-25T16:59:01.754" v="816"/>
          <ac:spMkLst>
            <pc:docMk/>
            <pc:sldMk cId="941330492" sldId="379"/>
            <ac:spMk id="22" creationId="{1BCE3D12-DE74-423F-81E4-67C2E4F6854E}"/>
          </ac:spMkLst>
        </pc:spChg>
        <pc:spChg chg="add del mod">
          <ac:chgData name="Marc Feldkirchner" userId="c4135e70-53ec-4cd4-a1bd-4ca908459c8c" providerId="ADAL" clId="{16CCBD85-F179-4CAE-94FA-02D29450FF29}" dt="2021-11-25T16:53:05.837" v="690" actId="478"/>
          <ac:spMkLst>
            <pc:docMk/>
            <pc:sldMk cId="941330492" sldId="379"/>
            <ac:spMk id="23" creationId="{D62AF080-E06F-4E4C-838E-2DFA3990C3BE}"/>
          </ac:spMkLst>
        </pc:spChg>
        <pc:spChg chg="add del mod">
          <ac:chgData name="Marc Feldkirchner" userId="c4135e70-53ec-4cd4-a1bd-4ca908459c8c" providerId="ADAL" clId="{16CCBD85-F179-4CAE-94FA-02D29450FF29}" dt="2021-11-25T16:53:08.020" v="691" actId="478"/>
          <ac:spMkLst>
            <pc:docMk/>
            <pc:sldMk cId="941330492" sldId="379"/>
            <ac:spMk id="24" creationId="{E62D5D66-1A19-41F6-8F9C-A09B063819DD}"/>
          </ac:spMkLst>
        </pc:spChg>
        <pc:spChg chg="add mod">
          <ac:chgData name="Marc Feldkirchner" userId="c4135e70-53ec-4cd4-a1bd-4ca908459c8c" providerId="ADAL" clId="{16CCBD85-F179-4CAE-94FA-02D29450FF29}" dt="2021-11-25T16:59:12.675" v="818"/>
          <ac:spMkLst>
            <pc:docMk/>
            <pc:sldMk cId="941330492" sldId="379"/>
            <ac:spMk id="25" creationId="{51F136B8-4740-4548-A9BC-6F6841EECD9B}"/>
          </ac:spMkLst>
        </pc:spChg>
        <pc:spChg chg="add mod">
          <ac:chgData name="Marc Feldkirchner" userId="c4135e70-53ec-4cd4-a1bd-4ca908459c8c" providerId="ADAL" clId="{16CCBD85-F179-4CAE-94FA-02D29450FF29}" dt="2021-11-25T16:59:25.936" v="820"/>
          <ac:spMkLst>
            <pc:docMk/>
            <pc:sldMk cId="941330492" sldId="379"/>
            <ac:spMk id="26" creationId="{5D025722-BE9A-43FD-AD5A-4FA8483124CB}"/>
          </ac:spMkLst>
        </pc:spChg>
        <pc:spChg chg="add mod">
          <ac:chgData name="Marc Feldkirchner" userId="c4135e70-53ec-4cd4-a1bd-4ca908459c8c" providerId="ADAL" clId="{16CCBD85-F179-4CAE-94FA-02D29450FF29}" dt="2021-11-25T16:59:44.528" v="821"/>
          <ac:spMkLst>
            <pc:docMk/>
            <pc:sldMk cId="941330492" sldId="379"/>
            <ac:spMk id="27" creationId="{303BED29-0F9B-4EC4-B799-1AAA0D8BE4D8}"/>
          </ac:spMkLst>
        </pc:spChg>
        <pc:spChg chg="add mod">
          <ac:chgData name="Marc Feldkirchner" userId="c4135e70-53ec-4cd4-a1bd-4ca908459c8c" providerId="ADAL" clId="{16CCBD85-F179-4CAE-94FA-02D29450FF29}" dt="2021-11-25T16:59:56.079" v="823"/>
          <ac:spMkLst>
            <pc:docMk/>
            <pc:sldMk cId="941330492" sldId="379"/>
            <ac:spMk id="28" creationId="{455EF3D8-3FBC-4197-96C2-B54CCCD98304}"/>
          </ac:spMkLst>
        </pc:spChg>
        <pc:spChg chg="add del mod">
          <ac:chgData name="Marc Feldkirchner" userId="c4135e70-53ec-4cd4-a1bd-4ca908459c8c" providerId="ADAL" clId="{16CCBD85-F179-4CAE-94FA-02D29450FF29}" dt="2021-11-25T16:53:26.313" v="697"/>
          <ac:spMkLst>
            <pc:docMk/>
            <pc:sldMk cId="941330492" sldId="379"/>
            <ac:spMk id="29" creationId="{BF46C612-46FE-4260-9168-7D2B1CA8F8AE}"/>
          </ac:spMkLst>
        </pc:spChg>
        <pc:spChg chg="add del mod">
          <ac:chgData name="Marc Feldkirchner" userId="c4135e70-53ec-4cd4-a1bd-4ca908459c8c" providerId="ADAL" clId="{16CCBD85-F179-4CAE-94FA-02D29450FF29}" dt="2021-11-25T16:53:26.313" v="697"/>
          <ac:spMkLst>
            <pc:docMk/>
            <pc:sldMk cId="941330492" sldId="379"/>
            <ac:spMk id="30" creationId="{9A87FA1A-FD2C-4DF2-964A-D4A810E2F590}"/>
          </ac:spMkLst>
        </pc:spChg>
        <pc:spChg chg="add mod">
          <ac:chgData name="Marc Feldkirchner" userId="c4135e70-53ec-4cd4-a1bd-4ca908459c8c" providerId="ADAL" clId="{16CCBD85-F179-4CAE-94FA-02D29450FF29}" dt="2021-11-25T17:00:05.317" v="824"/>
          <ac:spMkLst>
            <pc:docMk/>
            <pc:sldMk cId="941330492" sldId="379"/>
            <ac:spMk id="31" creationId="{1374F7C0-8DE1-418D-90F7-11A0F79DBC5E}"/>
          </ac:spMkLst>
        </pc:spChg>
      </pc:sldChg>
      <pc:sldChg chg="add del">
        <pc:chgData name="Marc Feldkirchner" userId="c4135e70-53ec-4cd4-a1bd-4ca908459c8c" providerId="ADAL" clId="{16CCBD85-F179-4CAE-94FA-02D29450FF29}" dt="2021-11-25T17:00:18.264" v="825" actId="47"/>
        <pc:sldMkLst>
          <pc:docMk/>
          <pc:sldMk cId="1947413665" sldId="380"/>
        </pc:sldMkLst>
      </pc:sldChg>
      <pc:sldChg chg="addSp delSp modSp add del mod">
        <pc:chgData name="Marc Feldkirchner" userId="c4135e70-53ec-4cd4-a1bd-4ca908459c8c" providerId="ADAL" clId="{16CCBD85-F179-4CAE-94FA-02D29450FF29}" dt="2021-11-25T16:50:27.008" v="606" actId="47"/>
        <pc:sldMkLst>
          <pc:docMk/>
          <pc:sldMk cId="3194232387" sldId="381"/>
        </pc:sldMkLst>
        <pc:spChg chg="mod">
          <ac:chgData name="Marc Feldkirchner" userId="c4135e70-53ec-4cd4-a1bd-4ca908459c8c" providerId="ADAL" clId="{16CCBD85-F179-4CAE-94FA-02D29450FF29}" dt="2021-11-25T16:49:36.359" v="592" actId="207"/>
          <ac:spMkLst>
            <pc:docMk/>
            <pc:sldMk cId="3194232387" sldId="381"/>
            <ac:spMk id="2" creationId="{BBF08E8E-964B-4DAE-BD80-34ECA5816C93}"/>
          </ac:spMkLst>
        </pc:spChg>
        <pc:spChg chg="mod">
          <ac:chgData name="Marc Feldkirchner" userId="c4135e70-53ec-4cd4-a1bd-4ca908459c8c" providerId="ADAL" clId="{16CCBD85-F179-4CAE-94FA-02D29450FF29}" dt="2021-11-25T16:48:22.941" v="589" actId="20577"/>
          <ac:spMkLst>
            <pc:docMk/>
            <pc:sldMk cId="3194232387" sldId="381"/>
            <ac:spMk id="6" creationId="{A9274C40-E085-4A80-ADFD-0A0BCEA441BC}"/>
          </ac:spMkLst>
        </pc:spChg>
        <pc:spChg chg="add mod">
          <ac:chgData name="Marc Feldkirchner" userId="c4135e70-53ec-4cd4-a1bd-4ca908459c8c" providerId="ADAL" clId="{16CCBD85-F179-4CAE-94FA-02D29450FF29}" dt="2021-11-25T16:49:39.404" v="593" actId="207"/>
          <ac:spMkLst>
            <pc:docMk/>
            <pc:sldMk cId="3194232387" sldId="381"/>
            <ac:spMk id="11" creationId="{CA62A399-8167-4685-991C-44FCF6AD8B69}"/>
          </ac:spMkLst>
        </pc:spChg>
        <pc:spChg chg="del mod">
          <ac:chgData name="Marc Feldkirchner" userId="c4135e70-53ec-4cd4-a1bd-4ca908459c8c" providerId="ADAL" clId="{16CCBD85-F179-4CAE-94FA-02D29450FF29}" dt="2021-11-25T16:49:58.034" v="595" actId="478"/>
          <ac:spMkLst>
            <pc:docMk/>
            <pc:sldMk cId="3194232387" sldId="381"/>
            <ac:spMk id="12" creationId="{23060116-439C-4F92-91A6-51953D835258}"/>
          </ac:spMkLst>
        </pc:spChg>
        <pc:spChg chg="del">
          <ac:chgData name="Marc Feldkirchner" userId="c4135e70-53ec-4cd4-a1bd-4ca908459c8c" providerId="ADAL" clId="{16CCBD85-F179-4CAE-94FA-02D29450FF29}" dt="2021-11-25T16:49:58.034" v="595" actId="478"/>
          <ac:spMkLst>
            <pc:docMk/>
            <pc:sldMk cId="3194232387" sldId="381"/>
            <ac:spMk id="13" creationId="{0BF4BDD5-4947-40C6-BB83-1269181F2508}"/>
          </ac:spMkLst>
        </pc:spChg>
        <pc:spChg chg="del">
          <ac:chgData name="Marc Feldkirchner" userId="c4135e70-53ec-4cd4-a1bd-4ca908459c8c" providerId="ADAL" clId="{16CCBD85-F179-4CAE-94FA-02D29450FF29}" dt="2021-11-25T16:49:58.034" v="595" actId="478"/>
          <ac:spMkLst>
            <pc:docMk/>
            <pc:sldMk cId="3194232387" sldId="381"/>
            <ac:spMk id="14" creationId="{87F51B93-1C12-4868-A6EC-CC179B953CA5}"/>
          </ac:spMkLst>
        </pc:spChg>
        <pc:spChg chg="del">
          <ac:chgData name="Marc Feldkirchner" userId="c4135e70-53ec-4cd4-a1bd-4ca908459c8c" providerId="ADAL" clId="{16CCBD85-F179-4CAE-94FA-02D29450FF29}" dt="2021-11-25T16:49:58.034" v="595" actId="478"/>
          <ac:spMkLst>
            <pc:docMk/>
            <pc:sldMk cId="3194232387" sldId="381"/>
            <ac:spMk id="15" creationId="{C6DD6111-757B-48AB-9961-8813AFE74ABD}"/>
          </ac:spMkLst>
        </pc:spChg>
        <pc:spChg chg="del">
          <ac:chgData name="Marc Feldkirchner" userId="c4135e70-53ec-4cd4-a1bd-4ca908459c8c" providerId="ADAL" clId="{16CCBD85-F179-4CAE-94FA-02D29450FF29}" dt="2021-11-25T16:49:58.034" v="595" actId="478"/>
          <ac:spMkLst>
            <pc:docMk/>
            <pc:sldMk cId="3194232387" sldId="381"/>
            <ac:spMk id="16" creationId="{E4BC8FEE-B4C1-4BF4-9C29-96CBAEF4E0F7}"/>
          </ac:spMkLst>
        </pc:spChg>
      </pc:sldChg>
      <pc:sldMasterChg chg="addSldLayout modSldLayout">
        <pc:chgData name="Marc Feldkirchner" userId="c4135e70-53ec-4cd4-a1bd-4ca908459c8c" providerId="ADAL" clId="{16CCBD85-F179-4CAE-94FA-02D29450FF29}" dt="2021-11-25T16:26:32.886" v="372" actId="14100"/>
        <pc:sldMasterMkLst>
          <pc:docMk/>
          <pc:sldMasterMk cId="4171192528" sldId="2147483648"/>
        </pc:sldMasterMkLst>
        <pc:sldLayoutChg chg="modSp">
          <pc:chgData name="Marc Feldkirchner" userId="c4135e70-53ec-4cd4-a1bd-4ca908459c8c" providerId="ADAL" clId="{16CCBD85-F179-4CAE-94FA-02D29450FF29}" dt="2021-11-25T16:23:36.996" v="307" actId="255"/>
          <pc:sldLayoutMkLst>
            <pc:docMk/>
            <pc:sldMasterMk cId="4171192528" sldId="2147483648"/>
            <pc:sldLayoutMk cId="1633053589" sldId="2147483660"/>
          </pc:sldLayoutMkLst>
          <pc:spChg chg="mod">
            <ac:chgData name="Marc Feldkirchner" userId="c4135e70-53ec-4cd4-a1bd-4ca908459c8c" providerId="ADAL" clId="{16CCBD85-F179-4CAE-94FA-02D29450FF29}" dt="2021-11-25T16:23:36.996" v="307" actId="255"/>
            <ac:spMkLst>
              <pc:docMk/>
              <pc:sldMasterMk cId="4171192528" sldId="2147483648"/>
              <pc:sldLayoutMk cId="1633053589" sldId="2147483660"/>
              <ac:spMk id="2" creationId="{954EE93F-0761-45C0-94F2-7FB72E74DE69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3:59.501" v="309" actId="403"/>
          <pc:sldLayoutMkLst>
            <pc:docMk/>
            <pc:sldMasterMk cId="4171192528" sldId="2147483648"/>
            <pc:sldLayoutMk cId="2838075522" sldId="2147483677"/>
          </pc:sldLayoutMkLst>
          <pc:spChg chg="mod">
            <ac:chgData name="Marc Feldkirchner" userId="c4135e70-53ec-4cd4-a1bd-4ca908459c8c" providerId="ADAL" clId="{16CCBD85-F179-4CAE-94FA-02D29450FF29}" dt="2021-11-25T16:23:59.501" v="309" actId="403"/>
            <ac:spMkLst>
              <pc:docMk/>
              <pc:sldMasterMk cId="4171192528" sldId="2147483648"/>
              <pc:sldLayoutMk cId="2838075522" sldId="2147483677"/>
              <ac:spMk id="3" creationId="{11C81000-22A3-4CC7-8EE3-44617E065908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4:08.719" v="311" actId="403"/>
          <pc:sldLayoutMkLst>
            <pc:docMk/>
            <pc:sldMasterMk cId="4171192528" sldId="2147483648"/>
            <pc:sldLayoutMk cId="4124328936" sldId="2147483678"/>
          </pc:sldLayoutMkLst>
          <pc:spChg chg="mod">
            <ac:chgData name="Marc Feldkirchner" userId="c4135e70-53ec-4cd4-a1bd-4ca908459c8c" providerId="ADAL" clId="{16CCBD85-F179-4CAE-94FA-02D29450FF29}" dt="2021-11-25T16:24:08.719" v="311" actId="403"/>
            <ac:spMkLst>
              <pc:docMk/>
              <pc:sldMasterMk cId="4171192528" sldId="2147483648"/>
              <pc:sldLayoutMk cId="4124328936" sldId="2147483678"/>
              <ac:spMk id="2" creationId="{6D21FE69-C171-47F5-9D7A-8F2E85637E53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4:04.434" v="310" actId="403"/>
          <pc:sldLayoutMkLst>
            <pc:docMk/>
            <pc:sldMasterMk cId="4171192528" sldId="2147483648"/>
            <pc:sldLayoutMk cId="197050338" sldId="2147483680"/>
          </pc:sldLayoutMkLst>
          <pc:spChg chg="mod">
            <ac:chgData name="Marc Feldkirchner" userId="c4135e70-53ec-4cd4-a1bd-4ca908459c8c" providerId="ADAL" clId="{16CCBD85-F179-4CAE-94FA-02D29450FF29}" dt="2021-11-25T16:24:04.434" v="310" actId="403"/>
            <ac:spMkLst>
              <pc:docMk/>
              <pc:sldMasterMk cId="4171192528" sldId="2147483648"/>
              <pc:sldLayoutMk cId="197050338" sldId="2147483680"/>
              <ac:spMk id="2" creationId="{C726C2D1-5259-462C-90C5-E59A854275CC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4:16.125" v="312" actId="403"/>
          <pc:sldLayoutMkLst>
            <pc:docMk/>
            <pc:sldMasterMk cId="4171192528" sldId="2147483648"/>
            <pc:sldLayoutMk cId="1982309668" sldId="2147483682"/>
          </pc:sldLayoutMkLst>
          <pc:spChg chg="mod">
            <ac:chgData name="Marc Feldkirchner" userId="c4135e70-53ec-4cd4-a1bd-4ca908459c8c" providerId="ADAL" clId="{16CCBD85-F179-4CAE-94FA-02D29450FF29}" dt="2021-11-25T16:24:16.125" v="312" actId="403"/>
            <ac:spMkLst>
              <pc:docMk/>
              <pc:sldMasterMk cId="4171192528" sldId="2147483648"/>
              <pc:sldLayoutMk cId="1982309668" sldId="2147483682"/>
              <ac:spMk id="3" creationId="{11C81000-22A3-4CC7-8EE3-44617E065908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4:19.659" v="313" actId="403"/>
          <pc:sldLayoutMkLst>
            <pc:docMk/>
            <pc:sldMasterMk cId="4171192528" sldId="2147483648"/>
            <pc:sldLayoutMk cId="4032948918" sldId="2147483683"/>
          </pc:sldLayoutMkLst>
          <pc:spChg chg="mod">
            <ac:chgData name="Marc Feldkirchner" userId="c4135e70-53ec-4cd4-a1bd-4ca908459c8c" providerId="ADAL" clId="{16CCBD85-F179-4CAE-94FA-02D29450FF29}" dt="2021-11-25T16:24:19.659" v="313" actId="403"/>
            <ac:spMkLst>
              <pc:docMk/>
              <pc:sldMasterMk cId="4171192528" sldId="2147483648"/>
              <pc:sldLayoutMk cId="4032948918" sldId="2147483683"/>
              <ac:spMk id="3" creationId="{11C81000-22A3-4CC7-8EE3-44617E065908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4:24.767" v="314" actId="403"/>
          <pc:sldLayoutMkLst>
            <pc:docMk/>
            <pc:sldMasterMk cId="4171192528" sldId="2147483648"/>
            <pc:sldLayoutMk cId="353346136" sldId="2147483684"/>
          </pc:sldLayoutMkLst>
          <pc:spChg chg="mod">
            <ac:chgData name="Marc Feldkirchner" userId="c4135e70-53ec-4cd4-a1bd-4ca908459c8c" providerId="ADAL" clId="{16CCBD85-F179-4CAE-94FA-02D29450FF29}" dt="2021-11-25T16:24:24.767" v="314" actId="403"/>
            <ac:spMkLst>
              <pc:docMk/>
              <pc:sldMasterMk cId="4171192528" sldId="2147483648"/>
              <pc:sldLayoutMk cId="353346136" sldId="2147483684"/>
              <ac:spMk id="2" creationId="{1D45CE21-274C-4DBE-8427-F5CF2C647C1C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4:34.206" v="315" actId="403"/>
          <pc:sldLayoutMkLst>
            <pc:docMk/>
            <pc:sldMasterMk cId="4171192528" sldId="2147483648"/>
            <pc:sldLayoutMk cId="3478393784" sldId="2147483685"/>
          </pc:sldLayoutMkLst>
          <pc:spChg chg="mod">
            <ac:chgData name="Marc Feldkirchner" userId="c4135e70-53ec-4cd4-a1bd-4ca908459c8c" providerId="ADAL" clId="{16CCBD85-F179-4CAE-94FA-02D29450FF29}" dt="2021-11-25T16:24:34.206" v="315" actId="403"/>
            <ac:spMkLst>
              <pc:docMk/>
              <pc:sldMasterMk cId="4171192528" sldId="2147483648"/>
              <pc:sldLayoutMk cId="3478393784" sldId="2147483685"/>
              <ac:spMk id="2" creationId="{CB138F73-8805-45B0-B5F3-713B56BDED4B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4:37.830" v="316" actId="403"/>
          <pc:sldLayoutMkLst>
            <pc:docMk/>
            <pc:sldMasterMk cId="4171192528" sldId="2147483648"/>
            <pc:sldLayoutMk cId="695597895" sldId="2147483686"/>
          </pc:sldLayoutMkLst>
          <pc:spChg chg="mod">
            <ac:chgData name="Marc Feldkirchner" userId="c4135e70-53ec-4cd4-a1bd-4ca908459c8c" providerId="ADAL" clId="{16CCBD85-F179-4CAE-94FA-02D29450FF29}" dt="2021-11-25T16:24:37.830" v="316" actId="403"/>
            <ac:spMkLst>
              <pc:docMk/>
              <pc:sldMasterMk cId="4171192528" sldId="2147483648"/>
              <pc:sldLayoutMk cId="695597895" sldId="2147483686"/>
              <ac:spMk id="2" creationId="{8C287C18-301F-4464-89BE-6E721589331D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4:43.724" v="317" actId="403"/>
          <pc:sldLayoutMkLst>
            <pc:docMk/>
            <pc:sldMasterMk cId="4171192528" sldId="2147483648"/>
            <pc:sldLayoutMk cId="2535501271" sldId="2147483687"/>
          </pc:sldLayoutMkLst>
          <pc:spChg chg="mod">
            <ac:chgData name="Marc Feldkirchner" userId="c4135e70-53ec-4cd4-a1bd-4ca908459c8c" providerId="ADAL" clId="{16CCBD85-F179-4CAE-94FA-02D29450FF29}" dt="2021-11-25T16:24:43.724" v="317" actId="403"/>
            <ac:spMkLst>
              <pc:docMk/>
              <pc:sldMasterMk cId="4171192528" sldId="2147483648"/>
              <pc:sldLayoutMk cId="2535501271" sldId="2147483687"/>
              <ac:spMk id="2" creationId="{B7B7D3C4-EB5A-4D3B-8002-1D9070EEF004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4:48.019" v="318" actId="403"/>
          <pc:sldLayoutMkLst>
            <pc:docMk/>
            <pc:sldMasterMk cId="4171192528" sldId="2147483648"/>
            <pc:sldLayoutMk cId="4006506937" sldId="2147483688"/>
          </pc:sldLayoutMkLst>
          <pc:spChg chg="mod">
            <ac:chgData name="Marc Feldkirchner" userId="c4135e70-53ec-4cd4-a1bd-4ca908459c8c" providerId="ADAL" clId="{16CCBD85-F179-4CAE-94FA-02D29450FF29}" dt="2021-11-25T16:24:48.019" v="318" actId="403"/>
            <ac:spMkLst>
              <pc:docMk/>
              <pc:sldMasterMk cId="4171192528" sldId="2147483648"/>
              <pc:sldLayoutMk cId="4006506937" sldId="2147483688"/>
              <ac:spMk id="5" creationId="{E3B18D22-A3E5-4673-815D-100D17846FA1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4:53.448" v="319" actId="403"/>
          <pc:sldLayoutMkLst>
            <pc:docMk/>
            <pc:sldMasterMk cId="4171192528" sldId="2147483648"/>
            <pc:sldLayoutMk cId="939117591" sldId="2147483689"/>
          </pc:sldLayoutMkLst>
          <pc:spChg chg="mod">
            <ac:chgData name="Marc Feldkirchner" userId="c4135e70-53ec-4cd4-a1bd-4ca908459c8c" providerId="ADAL" clId="{16CCBD85-F179-4CAE-94FA-02D29450FF29}" dt="2021-11-25T16:24:53.448" v="319" actId="403"/>
            <ac:spMkLst>
              <pc:docMk/>
              <pc:sldMasterMk cId="4171192528" sldId="2147483648"/>
              <pc:sldLayoutMk cId="939117591" sldId="2147483689"/>
              <ac:spMk id="8" creationId="{EFAA7117-B871-475F-A19B-4FEFEFA44BFA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3:51.084" v="308" actId="255"/>
          <pc:sldLayoutMkLst>
            <pc:docMk/>
            <pc:sldMasterMk cId="4171192528" sldId="2147483648"/>
            <pc:sldLayoutMk cId="1519303885" sldId="2147483690"/>
          </pc:sldLayoutMkLst>
          <pc:spChg chg="mod">
            <ac:chgData name="Marc Feldkirchner" userId="c4135e70-53ec-4cd4-a1bd-4ca908459c8c" providerId="ADAL" clId="{16CCBD85-F179-4CAE-94FA-02D29450FF29}" dt="2021-11-25T16:23:51.084" v="308" actId="255"/>
            <ac:spMkLst>
              <pc:docMk/>
              <pc:sldMasterMk cId="4171192528" sldId="2147483648"/>
              <pc:sldLayoutMk cId="1519303885" sldId="2147483690"/>
              <ac:spMk id="104" creationId="{C98E9493-1F8B-4FBF-92CD-FD88C8614C6D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5:03.113" v="320" actId="403"/>
          <pc:sldLayoutMkLst>
            <pc:docMk/>
            <pc:sldMasterMk cId="4171192528" sldId="2147483648"/>
            <pc:sldLayoutMk cId="2661342319" sldId="2147483698"/>
          </pc:sldLayoutMkLst>
          <pc:spChg chg="mod">
            <ac:chgData name="Marc Feldkirchner" userId="c4135e70-53ec-4cd4-a1bd-4ca908459c8c" providerId="ADAL" clId="{16CCBD85-F179-4CAE-94FA-02D29450FF29}" dt="2021-11-25T16:25:03.113" v="320" actId="403"/>
            <ac:spMkLst>
              <pc:docMk/>
              <pc:sldMasterMk cId="4171192528" sldId="2147483648"/>
              <pc:sldLayoutMk cId="2661342319" sldId="2147483698"/>
              <ac:spMk id="8" creationId="{EFAA7117-B871-475F-A19B-4FEFEFA44BFA}"/>
            </ac:spMkLst>
          </pc:spChg>
        </pc:sldLayoutChg>
        <pc:sldLayoutChg chg="delSp modSp add mod modTransition">
          <pc:chgData name="Marc Feldkirchner" userId="c4135e70-53ec-4cd4-a1bd-4ca908459c8c" providerId="ADAL" clId="{16CCBD85-F179-4CAE-94FA-02D29450FF29}" dt="2021-11-25T16:26:32.886" v="372" actId="14100"/>
          <pc:sldLayoutMkLst>
            <pc:docMk/>
            <pc:sldMasterMk cId="4171192528" sldId="2147483648"/>
            <pc:sldLayoutMk cId="3148073896" sldId="2147483699"/>
          </pc:sldLayoutMkLst>
          <pc:spChg chg="del">
            <ac:chgData name="Marc Feldkirchner" userId="c4135e70-53ec-4cd4-a1bd-4ca908459c8c" providerId="ADAL" clId="{16CCBD85-F179-4CAE-94FA-02D29450FF29}" dt="2021-11-25T16:25:41.813" v="323" actId="478"/>
            <ac:spMkLst>
              <pc:docMk/>
              <pc:sldMasterMk cId="4171192528" sldId="2147483648"/>
              <pc:sldLayoutMk cId="3148073896" sldId="2147483699"/>
              <ac:spMk id="6" creationId="{3006ADF7-280D-4EAD-9ED0-B65FC39B9A40}"/>
            </ac:spMkLst>
          </pc:spChg>
          <pc:spChg chg="mod">
            <ac:chgData name="Marc Feldkirchner" userId="c4135e70-53ec-4cd4-a1bd-4ca908459c8c" providerId="ADAL" clId="{16CCBD85-F179-4CAE-94FA-02D29450FF29}" dt="2021-11-25T16:26:32.886" v="372" actId="14100"/>
            <ac:spMkLst>
              <pc:docMk/>
              <pc:sldMasterMk cId="4171192528" sldId="2147483648"/>
              <pc:sldLayoutMk cId="3148073896" sldId="2147483699"/>
              <ac:spMk id="8" creationId="{EFAA7117-B871-475F-A19B-4FEFEFA44BFA}"/>
            </ac:spMkLst>
          </pc:spChg>
        </pc:sldLayoutChg>
      </pc:sldMasterChg>
    </pc:docChg>
  </pc:docChgLst>
  <pc:docChgLst>
    <pc:chgData name="Claas Dibke" userId="S::c.dibke@conbene.de::ddcbaaf6-1c3b-47d3-adc9-2339165010e6" providerId="AD" clId="Web-{CB36E5FC-E06D-4E72-874F-6D19D91E5E49}"/>
    <pc:docChg chg="modSld">
      <pc:chgData name="Claas Dibke" userId="S::c.dibke@conbene.de::ddcbaaf6-1c3b-47d3-adc9-2339165010e6" providerId="AD" clId="Web-{CB36E5FC-E06D-4E72-874F-6D19D91E5E49}" dt="2022-07-14T10:29:42.265" v="0" actId="14100"/>
      <pc:docMkLst>
        <pc:docMk/>
      </pc:docMkLst>
      <pc:sldChg chg="modSp">
        <pc:chgData name="Claas Dibke" userId="S::c.dibke@conbene.de::ddcbaaf6-1c3b-47d3-adc9-2339165010e6" providerId="AD" clId="Web-{CB36E5FC-E06D-4E72-874F-6D19D91E5E49}" dt="2022-07-14T10:29:42.265" v="0" actId="14100"/>
        <pc:sldMkLst>
          <pc:docMk/>
          <pc:sldMk cId="3056604384" sldId="433"/>
        </pc:sldMkLst>
        <pc:picChg chg="mod">
          <ac:chgData name="Claas Dibke" userId="S::c.dibke@conbene.de::ddcbaaf6-1c3b-47d3-adc9-2339165010e6" providerId="AD" clId="Web-{CB36E5FC-E06D-4E72-874F-6D19D91E5E49}" dt="2022-07-14T10:29:42.265" v="0" actId="14100"/>
          <ac:picMkLst>
            <pc:docMk/>
            <pc:sldMk cId="3056604384" sldId="433"/>
            <ac:picMk id="21" creationId="{F14D4847-9BC8-4212-9696-F2B027444D0C}"/>
          </ac:picMkLst>
        </pc:picChg>
      </pc:sldChg>
    </pc:docChg>
  </pc:docChgLst>
  <pc:docChgLst>
    <pc:chgData name="Nils Jennissen" userId="c8e78864-794c-4676-bd08-c750f307b710" providerId="ADAL" clId="{D5E06353-670E-5E4E-B4BD-1BFFE5D08A4D}"/>
    <pc:docChg chg="modSld">
      <pc:chgData name="Nils Jennissen" userId="c8e78864-794c-4676-bd08-c750f307b710" providerId="ADAL" clId="{D5E06353-670E-5E4E-B4BD-1BFFE5D08A4D}" dt="2022-02-24T12:17:11.912" v="2" actId="767"/>
      <pc:docMkLst>
        <pc:docMk/>
      </pc:docMkLst>
      <pc:sldChg chg="addSp modSp">
        <pc:chgData name="Nils Jennissen" userId="c8e78864-794c-4676-bd08-c750f307b710" providerId="ADAL" clId="{D5E06353-670E-5E4E-B4BD-1BFFE5D08A4D}" dt="2022-02-24T12:17:11.912" v="2" actId="767"/>
        <pc:sldMkLst>
          <pc:docMk/>
          <pc:sldMk cId="947004393" sldId="336"/>
        </pc:sldMkLst>
        <pc:spChg chg="add mod">
          <ac:chgData name="Nils Jennissen" userId="c8e78864-794c-4676-bd08-c750f307b710" providerId="ADAL" clId="{D5E06353-670E-5E4E-B4BD-1BFFE5D08A4D}" dt="2022-02-24T12:17:11.912" v="2" actId="767"/>
          <ac:spMkLst>
            <pc:docMk/>
            <pc:sldMk cId="947004393" sldId="336"/>
            <ac:spMk id="2" creationId="{47EB54C4-5BA1-244E-8126-AE0B9AFA1A15}"/>
          </ac:spMkLst>
        </pc:spChg>
      </pc:sldChg>
      <pc:sldChg chg="addSp modSp">
        <pc:chgData name="Nils Jennissen" userId="c8e78864-794c-4676-bd08-c750f307b710" providerId="ADAL" clId="{D5E06353-670E-5E4E-B4BD-1BFFE5D08A4D}" dt="2022-02-24T12:06:16.770" v="1" actId="767"/>
        <pc:sldMkLst>
          <pc:docMk/>
          <pc:sldMk cId="3038720959" sldId="339"/>
        </pc:sldMkLst>
        <pc:spChg chg="add mod">
          <ac:chgData name="Nils Jennissen" userId="c8e78864-794c-4676-bd08-c750f307b710" providerId="ADAL" clId="{D5E06353-670E-5E4E-B4BD-1BFFE5D08A4D}" dt="2022-02-24T12:06:15.568" v="0" actId="767"/>
          <ac:spMkLst>
            <pc:docMk/>
            <pc:sldMk cId="3038720959" sldId="339"/>
            <ac:spMk id="2" creationId="{CB0BC7BC-A64F-5F40-8FC2-5DAB1B154F8E}"/>
          </ac:spMkLst>
        </pc:spChg>
        <pc:spChg chg="add mod">
          <ac:chgData name="Nils Jennissen" userId="c8e78864-794c-4676-bd08-c750f307b710" providerId="ADAL" clId="{D5E06353-670E-5E4E-B4BD-1BFFE5D08A4D}" dt="2022-02-24T12:06:16.770" v="1" actId="767"/>
          <ac:spMkLst>
            <pc:docMk/>
            <pc:sldMk cId="3038720959" sldId="339"/>
            <ac:spMk id="5" creationId="{B7D73A77-E1D9-5142-ADFE-0F0DF05FE96F}"/>
          </ac:spMkLst>
        </pc:spChg>
      </pc:sldChg>
    </pc:docChg>
  </pc:docChgLst>
  <pc:docChgLst>
    <pc:chgData name="Marc Feldkirchner" userId="S::m.feldkirchner@conbene.de::c4135e70-53ec-4cd4-a1bd-4ca908459c8c" providerId="AD" clId="Web-{3F2A90CA-F804-4152-B36B-379B4E3E7E63}"/>
    <pc:docChg chg="modSld">
      <pc:chgData name="Marc Feldkirchner" userId="S::m.feldkirchner@conbene.de::c4135e70-53ec-4cd4-a1bd-4ca908459c8c" providerId="AD" clId="Web-{3F2A90CA-F804-4152-B36B-379B4E3E7E63}" dt="2022-02-08T22:31:42.176" v="1"/>
      <pc:docMkLst>
        <pc:docMk/>
      </pc:docMkLst>
      <pc:sldChg chg="addSp delSp modSp">
        <pc:chgData name="Marc Feldkirchner" userId="S::m.feldkirchner@conbene.de::c4135e70-53ec-4cd4-a1bd-4ca908459c8c" providerId="AD" clId="Web-{3F2A90CA-F804-4152-B36B-379B4E3E7E63}" dt="2022-02-08T22:31:42.176" v="1"/>
        <pc:sldMkLst>
          <pc:docMk/>
          <pc:sldMk cId="216177301" sldId="380"/>
        </pc:sldMkLst>
        <pc:spChg chg="add del mod">
          <ac:chgData name="Marc Feldkirchner" userId="S::m.feldkirchner@conbene.de::c4135e70-53ec-4cd4-a1bd-4ca908459c8c" providerId="AD" clId="Web-{3F2A90CA-F804-4152-B36B-379B4E3E7E63}" dt="2022-02-08T22:31:42.176" v="1"/>
          <ac:spMkLst>
            <pc:docMk/>
            <pc:sldMk cId="216177301" sldId="380"/>
            <ac:spMk id="5" creationId="{F9FCB1CB-85CA-42CF-808A-082C5EDA6DE9}"/>
          </ac:spMkLst>
        </pc:spChg>
        <pc:spChg chg="del">
          <ac:chgData name="Marc Feldkirchner" userId="S::m.feldkirchner@conbene.de::c4135e70-53ec-4cd4-a1bd-4ca908459c8c" providerId="AD" clId="Web-{3F2A90CA-F804-4152-B36B-379B4E3E7E63}" dt="2022-02-08T22:31:37.395" v="0"/>
          <ac:spMkLst>
            <pc:docMk/>
            <pc:sldMk cId="216177301" sldId="380"/>
            <ac:spMk id="17" creationId="{781750EC-AB1A-4019-A93F-FCE186860B52}"/>
          </ac:spMkLst>
        </pc:spChg>
      </pc:sldChg>
    </pc:docChg>
  </pc:docChgLst>
  <pc:docChgLst>
    <pc:chgData name="Marc Feldkirchner" userId="c4135e70-53ec-4cd4-a1bd-4ca908459c8c" providerId="ADAL" clId="{9E6C05E1-8089-4C7B-99E0-8B365EDE2B39}"/>
    <pc:docChg chg="custSel modSld">
      <pc:chgData name="Marc Feldkirchner" userId="c4135e70-53ec-4cd4-a1bd-4ca908459c8c" providerId="ADAL" clId="{9E6C05E1-8089-4C7B-99E0-8B365EDE2B39}" dt="2022-02-16T11:11:37.139" v="34" actId="478"/>
      <pc:docMkLst>
        <pc:docMk/>
      </pc:docMkLst>
      <pc:sldChg chg="addSp delSp modSp mod">
        <pc:chgData name="Marc Feldkirchner" userId="c4135e70-53ec-4cd4-a1bd-4ca908459c8c" providerId="ADAL" clId="{9E6C05E1-8089-4C7B-99E0-8B365EDE2B39}" dt="2022-02-16T11:11:37.139" v="34" actId="478"/>
        <pc:sldMkLst>
          <pc:docMk/>
          <pc:sldMk cId="941330492" sldId="379"/>
        </pc:sldMkLst>
        <pc:spChg chg="add del mod">
          <ac:chgData name="Marc Feldkirchner" userId="c4135e70-53ec-4cd4-a1bd-4ca908459c8c" providerId="ADAL" clId="{9E6C05E1-8089-4C7B-99E0-8B365EDE2B39}" dt="2022-02-16T11:11:37.139" v="34" actId="478"/>
          <ac:spMkLst>
            <pc:docMk/>
            <pc:sldMk cId="941330492" sldId="379"/>
            <ac:spMk id="7" creationId="{AE7B7065-18D9-4F83-9A8E-DF6E17A4C7D9}"/>
          </ac:spMkLst>
        </pc:spChg>
        <pc:spChg chg="add del mod">
          <ac:chgData name="Marc Feldkirchner" userId="c4135e70-53ec-4cd4-a1bd-4ca908459c8c" providerId="ADAL" clId="{9E6C05E1-8089-4C7B-99E0-8B365EDE2B39}" dt="2022-02-16T11:10:45.535" v="10" actId="478"/>
          <ac:spMkLst>
            <pc:docMk/>
            <pc:sldMk cId="941330492" sldId="379"/>
            <ac:spMk id="8" creationId="{C88563E4-AC68-49F6-8F0E-340F1382581F}"/>
          </ac:spMkLst>
        </pc:spChg>
        <pc:spChg chg="add del mod">
          <ac:chgData name="Marc Feldkirchner" userId="c4135e70-53ec-4cd4-a1bd-4ca908459c8c" providerId="ADAL" clId="{9E6C05E1-8089-4C7B-99E0-8B365EDE2B39}" dt="2022-02-16T11:11:34.014" v="32" actId="478"/>
          <ac:spMkLst>
            <pc:docMk/>
            <pc:sldMk cId="941330492" sldId="379"/>
            <ac:spMk id="9" creationId="{D46CE84C-5201-4F2C-AE4D-3DA834B46807}"/>
          </ac:spMkLst>
        </pc:spChg>
        <pc:spChg chg="add del mod">
          <ac:chgData name="Marc Feldkirchner" userId="c4135e70-53ec-4cd4-a1bd-4ca908459c8c" providerId="ADAL" clId="{9E6C05E1-8089-4C7B-99E0-8B365EDE2B39}" dt="2022-02-16T11:10:47.032" v="12" actId="478"/>
          <ac:spMkLst>
            <pc:docMk/>
            <pc:sldMk cId="941330492" sldId="379"/>
            <ac:spMk id="23" creationId="{BFE4CDA4-10B1-494C-A621-66D7599C2D3C}"/>
          </ac:spMkLst>
        </pc:spChg>
        <pc:spChg chg="add del mod">
          <ac:chgData name="Marc Feldkirchner" userId="c4135e70-53ec-4cd4-a1bd-4ca908459c8c" providerId="ADAL" clId="{9E6C05E1-8089-4C7B-99E0-8B365EDE2B39}" dt="2022-02-16T11:11:35.722" v="33" actId="478"/>
          <ac:spMkLst>
            <pc:docMk/>
            <pc:sldMk cId="941330492" sldId="379"/>
            <ac:spMk id="24" creationId="{CF1C8DF6-3039-4E07-BE83-52CE6D43C921}"/>
          </ac:spMkLst>
        </pc:spChg>
      </pc:sldChg>
    </pc:docChg>
  </pc:docChgLst>
  <pc:docChgLst>
    <pc:chgData name="Marc Feldkirchner" userId="c4135e70-53ec-4cd4-a1bd-4ca908459c8c" providerId="ADAL" clId="{8D3E516F-F447-46F4-8220-9AD2A9329575}"/>
    <pc:docChg chg="undo custSel addSld delSld modSld">
      <pc:chgData name="Marc Feldkirchner" userId="c4135e70-53ec-4cd4-a1bd-4ca908459c8c" providerId="ADAL" clId="{8D3E516F-F447-46F4-8220-9AD2A9329575}" dt="2022-02-08T22:30:46.789" v="131" actId="3064"/>
      <pc:docMkLst>
        <pc:docMk/>
      </pc:docMkLst>
      <pc:sldChg chg="modSp add del mod">
        <pc:chgData name="Marc Feldkirchner" userId="c4135e70-53ec-4cd4-a1bd-4ca908459c8c" providerId="ADAL" clId="{8D3E516F-F447-46F4-8220-9AD2A9329575}" dt="2022-02-08T22:30:46.789" v="131" actId="3064"/>
        <pc:sldMkLst>
          <pc:docMk/>
          <pc:sldMk cId="216177301" sldId="380"/>
        </pc:sldMkLst>
        <pc:graphicFrameChg chg="mod modGraphic">
          <ac:chgData name="Marc Feldkirchner" userId="c4135e70-53ec-4cd4-a1bd-4ca908459c8c" providerId="ADAL" clId="{8D3E516F-F447-46F4-8220-9AD2A9329575}" dt="2022-02-08T22:30:46.789" v="131" actId="3064"/>
          <ac:graphicFrameMkLst>
            <pc:docMk/>
            <pc:sldMk cId="216177301" sldId="380"/>
            <ac:graphicFrameMk id="12" creationId="{90A3AE64-04DB-4D3B-AC2B-2A4E8D7484AB}"/>
          </ac:graphicFrameMkLst>
        </pc:graphicFrameChg>
      </pc:sldChg>
    </pc:docChg>
  </pc:docChgLst>
  <pc:docChgLst>
    <pc:chgData name="Daniel Hamann" userId="847c405c-7417-4257-a34f-58113b877d74" providerId="ADAL" clId="{919764FA-1775-44B6-BB7D-8A0C365D0EE5}"/>
    <pc:docChg chg="undo custSel addSld delSld modSld sldOrd addSection delSection modSection">
      <pc:chgData name="Daniel Hamann" userId="847c405c-7417-4257-a34f-58113b877d74" providerId="ADAL" clId="{919764FA-1775-44B6-BB7D-8A0C365D0EE5}" dt="2022-04-05T09:59:37.911" v="320" actId="14100"/>
      <pc:docMkLst>
        <pc:docMk/>
      </pc:docMkLst>
      <pc:sldChg chg="new del ord">
        <pc:chgData name="Daniel Hamann" userId="847c405c-7417-4257-a34f-58113b877d74" providerId="ADAL" clId="{919764FA-1775-44B6-BB7D-8A0C365D0EE5}" dt="2022-04-05T09:29:57.313" v="10" actId="47"/>
        <pc:sldMkLst>
          <pc:docMk/>
          <pc:sldMk cId="3310472277" sldId="425"/>
        </pc:sldMkLst>
      </pc:sldChg>
      <pc:sldChg chg="modSp add mod ord">
        <pc:chgData name="Daniel Hamann" userId="847c405c-7417-4257-a34f-58113b877d74" providerId="ADAL" clId="{919764FA-1775-44B6-BB7D-8A0C365D0EE5}" dt="2022-04-05T09:30:42.859" v="40" actId="20577"/>
        <pc:sldMkLst>
          <pc:docMk/>
          <pc:sldMk cId="3808728708" sldId="426"/>
        </pc:sldMkLst>
        <pc:spChg chg="mod">
          <ac:chgData name="Daniel Hamann" userId="847c405c-7417-4257-a34f-58113b877d74" providerId="ADAL" clId="{919764FA-1775-44B6-BB7D-8A0C365D0EE5}" dt="2022-04-05T09:30:42.859" v="40" actId="20577"/>
          <ac:spMkLst>
            <pc:docMk/>
            <pc:sldMk cId="3808728708" sldId="426"/>
            <ac:spMk id="14" creationId="{B07F6F48-85B6-4FFA-9856-27CF4F35ACE8}"/>
          </ac:spMkLst>
        </pc:spChg>
      </pc:sldChg>
      <pc:sldChg chg="delSp modSp new del mod">
        <pc:chgData name="Daniel Hamann" userId="847c405c-7417-4257-a34f-58113b877d74" providerId="ADAL" clId="{919764FA-1775-44B6-BB7D-8A0C365D0EE5}" dt="2022-04-05T09:33:32.621" v="206" actId="47"/>
        <pc:sldMkLst>
          <pc:docMk/>
          <pc:sldMk cId="3093523369" sldId="427"/>
        </pc:sldMkLst>
        <pc:spChg chg="mod">
          <ac:chgData name="Daniel Hamann" userId="847c405c-7417-4257-a34f-58113b877d74" providerId="ADAL" clId="{919764FA-1775-44B6-BB7D-8A0C365D0EE5}" dt="2022-04-05T09:32:31.947" v="195" actId="20577"/>
          <ac:spMkLst>
            <pc:docMk/>
            <pc:sldMk cId="3093523369" sldId="427"/>
            <ac:spMk id="5" creationId="{EDC1A7C2-6911-47CA-86CA-1A1A643D8DB7}"/>
          </ac:spMkLst>
        </pc:spChg>
        <pc:spChg chg="mod">
          <ac:chgData name="Daniel Hamann" userId="847c405c-7417-4257-a34f-58113b877d74" providerId="ADAL" clId="{919764FA-1775-44B6-BB7D-8A0C365D0EE5}" dt="2022-04-05T09:33:16.898" v="202"/>
          <ac:spMkLst>
            <pc:docMk/>
            <pc:sldMk cId="3093523369" sldId="427"/>
            <ac:spMk id="9" creationId="{701E1652-CD3B-46B2-9DF3-802A1D314DC2}"/>
          </ac:spMkLst>
        </pc:spChg>
        <pc:spChg chg="del">
          <ac:chgData name="Daniel Hamann" userId="847c405c-7417-4257-a34f-58113b877d74" providerId="ADAL" clId="{919764FA-1775-44B6-BB7D-8A0C365D0EE5}" dt="2022-04-05T09:32:07.709" v="150" actId="478"/>
          <ac:spMkLst>
            <pc:docMk/>
            <pc:sldMk cId="3093523369" sldId="427"/>
            <ac:spMk id="11" creationId="{7E6CCDAF-BA5B-4EC6-BA04-92FE47D0ED32}"/>
          </ac:spMkLst>
        </pc:spChg>
        <pc:spChg chg="del">
          <ac:chgData name="Daniel Hamann" userId="847c405c-7417-4257-a34f-58113b877d74" providerId="ADAL" clId="{919764FA-1775-44B6-BB7D-8A0C365D0EE5}" dt="2022-04-05T09:32:07.709" v="150" actId="478"/>
          <ac:spMkLst>
            <pc:docMk/>
            <pc:sldMk cId="3093523369" sldId="427"/>
            <ac:spMk id="12" creationId="{2E96CFC6-F076-419E-BCBC-D7E36E405F79}"/>
          </ac:spMkLst>
        </pc:spChg>
        <pc:spChg chg="del">
          <ac:chgData name="Daniel Hamann" userId="847c405c-7417-4257-a34f-58113b877d74" providerId="ADAL" clId="{919764FA-1775-44B6-BB7D-8A0C365D0EE5}" dt="2022-04-05T09:32:07.709" v="150" actId="478"/>
          <ac:spMkLst>
            <pc:docMk/>
            <pc:sldMk cId="3093523369" sldId="427"/>
            <ac:spMk id="13" creationId="{5F2FF9CB-6E85-4DF0-8473-CBB89DDA540E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14" creationId="{94C66E1D-6DE2-494A-A59B-7A0C81A374AB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15" creationId="{DF928F48-29DE-4E8D-A3DD-C1FFCC964E8F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16" creationId="{EEF4DE8A-292B-46F1-B69B-46FD851A03ED}"/>
          </ac:spMkLst>
        </pc:spChg>
        <pc:spChg chg="mod">
          <ac:chgData name="Daniel Hamann" userId="847c405c-7417-4257-a34f-58113b877d74" providerId="ADAL" clId="{919764FA-1775-44B6-BB7D-8A0C365D0EE5}" dt="2022-04-05T09:32:02.099" v="142" actId="20577"/>
          <ac:spMkLst>
            <pc:docMk/>
            <pc:sldMk cId="3093523369" sldId="427"/>
            <ac:spMk id="18" creationId="{060BA545-ADDE-48CE-919A-C4E438DBC2DA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20" creationId="{4D8C14D2-FBAD-49AD-97D7-D6F8B3C7B93F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21" creationId="{A002CA3D-EEC8-4E98-B72D-66A75C336868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22" creationId="{AAA8B59C-4412-47FC-9393-DCE759DC89EE}"/>
          </ac:spMkLst>
        </pc:spChg>
        <pc:spChg chg="mod">
          <ac:chgData name="Daniel Hamann" userId="847c405c-7417-4257-a34f-58113b877d74" providerId="ADAL" clId="{919764FA-1775-44B6-BB7D-8A0C365D0EE5}" dt="2022-04-05T09:31:37.481" v="82" actId="20577"/>
          <ac:spMkLst>
            <pc:docMk/>
            <pc:sldMk cId="3093523369" sldId="427"/>
            <ac:spMk id="24" creationId="{60CBD09B-4F36-42B6-AB68-13250B2B70CB}"/>
          </ac:spMkLst>
        </pc:spChg>
        <pc:spChg chg="mod">
          <ac:chgData name="Daniel Hamann" userId="847c405c-7417-4257-a34f-58113b877d74" providerId="ADAL" clId="{919764FA-1775-44B6-BB7D-8A0C365D0EE5}" dt="2022-04-05T09:31:43.614" v="95" actId="20577"/>
          <ac:spMkLst>
            <pc:docMk/>
            <pc:sldMk cId="3093523369" sldId="427"/>
            <ac:spMk id="27" creationId="{9C71A212-9EEC-4E16-B212-3896263666D9}"/>
          </ac:spMkLst>
        </pc:spChg>
        <pc:spChg chg="mod">
          <ac:chgData name="Daniel Hamann" userId="847c405c-7417-4257-a34f-58113b877d74" providerId="ADAL" clId="{919764FA-1775-44B6-BB7D-8A0C365D0EE5}" dt="2022-04-05T09:32:05.161" v="149" actId="20577"/>
          <ac:spMkLst>
            <pc:docMk/>
            <pc:sldMk cId="3093523369" sldId="427"/>
            <ac:spMk id="30" creationId="{7E652456-10C6-4D59-B09F-D9CD9AB856BC}"/>
          </ac:spMkLst>
        </pc:spChg>
        <pc:spChg chg="del">
          <ac:chgData name="Daniel Hamann" userId="847c405c-7417-4257-a34f-58113b877d74" providerId="ADAL" clId="{919764FA-1775-44B6-BB7D-8A0C365D0EE5}" dt="2022-04-05T09:32:07.709" v="150" actId="478"/>
          <ac:spMkLst>
            <pc:docMk/>
            <pc:sldMk cId="3093523369" sldId="427"/>
            <ac:spMk id="32" creationId="{A256181B-670B-4984-B11C-7DCB621E31C8}"/>
          </ac:spMkLst>
        </pc:spChg>
        <pc:spChg chg="del">
          <ac:chgData name="Daniel Hamann" userId="847c405c-7417-4257-a34f-58113b877d74" providerId="ADAL" clId="{919764FA-1775-44B6-BB7D-8A0C365D0EE5}" dt="2022-04-05T09:32:07.709" v="150" actId="478"/>
          <ac:spMkLst>
            <pc:docMk/>
            <pc:sldMk cId="3093523369" sldId="427"/>
            <ac:spMk id="33" creationId="{35EE9697-AE29-4887-8081-136FBD1E6FE5}"/>
          </ac:spMkLst>
        </pc:spChg>
        <pc:spChg chg="del">
          <ac:chgData name="Daniel Hamann" userId="847c405c-7417-4257-a34f-58113b877d74" providerId="ADAL" clId="{919764FA-1775-44B6-BB7D-8A0C365D0EE5}" dt="2022-04-05T09:32:07.709" v="150" actId="478"/>
          <ac:spMkLst>
            <pc:docMk/>
            <pc:sldMk cId="3093523369" sldId="427"/>
            <ac:spMk id="34" creationId="{C349BF71-D033-4EE3-9049-1BFBB9CEAD22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35" creationId="{BBBBFBD2-16C5-4E61-A27F-56DCDD50FCF9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36" creationId="{24D37A8B-8EB1-4775-82F1-91BBF506F117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37" creationId="{1EE0251A-27A1-466A-AAAF-CF7B09813E1E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38" creationId="{A937FFEF-C9C0-40A4-9038-19CAB14F3D1D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39" creationId="{0BE74B21-705B-4F73-9E58-5FA67826B892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40" creationId="{6883541F-F90D-4E78-896E-1EF7F83549F7}"/>
          </ac:spMkLst>
        </pc:spChg>
      </pc:sldChg>
      <pc:sldChg chg="addSp delSp modSp new mod modClrScheme chgLayout">
        <pc:chgData name="Daniel Hamann" userId="847c405c-7417-4257-a34f-58113b877d74" providerId="ADAL" clId="{919764FA-1775-44B6-BB7D-8A0C365D0EE5}" dt="2022-04-05T09:33:43.537" v="207" actId="700"/>
        <pc:sldMkLst>
          <pc:docMk/>
          <pc:sldMk cId="3406666726" sldId="428"/>
        </pc:sldMkLst>
        <pc:spChg chg="del mod ord">
          <ac:chgData name="Daniel Hamann" userId="847c405c-7417-4257-a34f-58113b877d74" providerId="ADAL" clId="{919764FA-1775-44B6-BB7D-8A0C365D0EE5}" dt="2022-04-05T09:33:43.537" v="207" actId="700"/>
          <ac:spMkLst>
            <pc:docMk/>
            <pc:sldMk cId="3406666726" sldId="428"/>
            <ac:spMk id="2" creationId="{95C9AE93-7D9B-4401-9FCB-2AEFF1ED390A}"/>
          </ac:spMkLst>
        </pc:spChg>
        <pc:spChg chg="mod ord">
          <ac:chgData name="Daniel Hamann" userId="847c405c-7417-4257-a34f-58113b877d74" providerId="ADAL" clId="{919764FA-1775-44B6-BB7D-8A0C365D0EE5}" dt="2022-04-05T09:33:43.537" v="207" actId="700"/>
          <ac:spMkLst>
            <pc:docMk/>
            <pc:sldMk cId="3406666726" sldId="428"/>
            <ac:spMk id="3" creationId="{1F4D5F3E-D201-4C7A-9407-E39025F1533B}"/>
          </ac:spMkLst>
        </pc:spChg>
        <pc:spChg chg="del mod ord">
          <ac:chgData name="Daniel Hamann" userId="847c405c-7417-4257-a34f-58113b877d74" providerId="ADAL" clId="{919764FA-1775-44B6-BB7D-8A0C365D0EE5}" dt="2022-04-05T09:33:43.537" v="207" actId="700"/>
          <ac:spMkLst>
            <pc:docMk/>
            <pc:sldMk cId="3406666726" sldId="428"/>
            <ac:spMk id="4" creationId="{8153FC4A-28BA-4063-A367-DB303DBDAAE2}"/>
          </ac:spMkLst>
        </pc:spChg>
        <pc:spChg chg="del mod ord">
          <ac:chgData name="Daniel Hamann" userId="847c405c-7417-4257-a34f-58113b877d74" providerId="ADAL" clId="{919764FA-1775-44B6-BB7D-8A0C365D0EE5}" dt="2022-04-05T09:33:43.537" v="207" actId="700"/>
          <ac:spMkLst>
            <pc:docMk/>
            <pc:sldMk cId="3406666726" sldId="428"/>
            <ac:spMk id="5" creationId="{3CB0352B-93BF-4D1E-97F7-BF459D267A75}"/>
          </ac:spMkLst>
        </pc:spChg>
        <pc:spChg chg="mod ord">
          <ac:chgData name="Daniel Hamann" userId="847c405c-7417-4257-a34f-58113b877d74" providerId="ADAL" clId="{919764FA-1775-44B6-BB7D-8A0C365D0EE5}" dt="2022-04-05T09:33:43.537" v="207" actId="700"/>
          <ac:spMkLst>
            <pc:docMk/>
            <pc:sldMk cId="3406666726" sldId="428"/>
            <ac:spMk id="6" creationId="{AF8EAC61-3C64-4CF2-AE56-F3913C7E7E44}"/>
          </ac:spMkLst>
        </pc:spChg>
        <pc:spChg chg="add mod ord">
          <ac:chgData name="Daniel Hamann" userId="847c405c-7417-4257-a34f-58113b877d74" providerId="ADAL" clId="{919764FA-1775-44B6-BB7D-8A0C365D0EE5}" dt="2022-04-05T09:33:43.537" v="207" actId="700"/>
          <ac:spMkLst>
            <pc:docMk/>
            <pc:sldMk cId="3406666726" sldId="428"/>
            <ac:spMk id="7" creationId="{D50CC3DF-8961-49F8-90D9-F547AFEE9186}"/>
          </ac:spMkLst>
        </pc:spChg>
        <pc:spChg chg="add mod ord">
          <ac:chgData name="Daniel Hamann" userId="847c405c-7417-4257-a34f-58113b877d74" providerId="ADAL" clId="{919764FA-1775-44B6-BB7D-8A0C365D0EE5}" dt="2022-04-05T09:33:43.537" v="207" actId="700"/>
          <ac:spMkLst>
            <pc:docMk/>
            <pc:sldMk cId="3406666726" sldId="428"/>
            <ac:spMk id="8" creationId="{82386CFA-D341-49FB-A188-F1C1F6015781}"/>
          </ac:spMkLst>
        </pc:spChg>
        <pc:spChg chg="add mod ord">
          <ac:chgData name="Daniel Hamann" userId="847c405c-7417-4257-a34f-58113b877d74" providerId="ADAL" clId="{919764FA-1775-44B6-BB7D-8A0C365D0EE5}" dt="2022-04-05T09:33:43.537" v="207" actId="700"/>
          <ac:spMkLst>
            <pc:docMk/>
            <pc:sldMk cId="3406666726" sldId="428"/>
            <ac:spMk id="9" creationId="{D9614D97-67F5-405E-A1F8-19E97372C175}"/>
          </ac:spMkLst>
        </pc:spChg>
        <pc:spChg chg="add mod ord">
          <ac:chgData name="Daniel Hamann" userId="847c405c-7417-4257-a34f-58113b877d74" providerId="ADAL" clId="{919764FA-1775-44B6-BB7D-8A0C365D0EE5}" dt="2022-04-05T09:33:43.537" v="207" actId="700"/>
          <ac:spMkLst>
            <pc:docMk/>
            <pc:sldMk cId="3406666726" sldId="428"/>
            <ac:spMk id="10" creationId="{3F189A5D-5DEC-4792-AEEE-C61F5CAA8354}"/>
          </ac:spMkLst>
        </pc:spChg>
      </pc:sldChg>
      <pc:sldChg chg="modSp add mod">
        <pc:chgData name="Daniel Hamann" userId="847c405c-7417-4257-a34f-58113b877d74" providerId="ADAL" clId="{919764FA-1775-44B6-BB7D-8A0C365D0EE5}" dt="2022-04-05T09:33:30.857" v="205"/>
        <pc:sldMkLst>
          <pc:docMk/>
          <pc:sldMk cId="2201740257" sldId="429"/>
        </pc:sldMkLst>
        <pc:spChg chg="mod">
          <ac:chgData name="Daniel Hamann" userId="847c405c-7417-4257-a34f-58113b877d74" providerId="ADAL" clId="{919764FA-1775-44B6-BB7D-8A0C365D0EE5}" dt="2022-04-05T09:33:02.541" v="198"/>
          <ac:spMkLst>
            <pc:docMk/>
            <pc:sldMk cId="2201740257" sldId="429"/>
            <ac:spMk id="179" creationId="{BA596FC9-79E8-4C8F-B716-4B680640466C}"/>
          </ac:spMkLst>
        </pc:spChg>
        <pc:spChg chg="mod">
          <ac:chgData name="Daniel Hamann" userId="847c405c-7417-4257-a34f-58113b877d74" providerId="ADAL" clId="{919764FA-1775-44B6-BB7D-8A0C365D0EE5}" dt="2022-04-05T09:33:19.987" v="203"/>
          <ac:spMkLst>
            <pc:docMk/>
            <pc:sldMk cId="2201740257" sldId="429"/>
            <ac:spMk id="182" creationId="{BA714521-F0A9-44FA-B5A8-FD27D3EFC840}"/>
          </ac:spMkLst>
        </pc:spChg>
        <pc:spChg chg="mod">
          <ac:chgData name="Daniel Hamann" userId="847c405c-7417-4257-a34f-58113b877d74" providerId="ADAL" clId="{919764FA-1775-44B6-BB7D-8A0C365D0EE5}" dt="2022-04-05T09:33:24.911" v="204"/>
          <ac:spMkLst>
            <pc:docMk/>
            <pc:sldMk cId="2201740257" sldId="429"/>
            <ac:spMk id="191" creationId="{7ECDB696-7E06-4989-9BAE-8071ABC83A16}"/>
          </ac:spMkLst>
        </pc:spChg>
        <pc:spChg chg="mod">
          <ac:chgData name="Daniel Hamann" userId="847c405c-7417-4257-a34f-58113b877d74" providerId="ADAL" clId="{919764FA-1775-44B6-BB7D-8A0C365D0EE5}" dt="2022-04-05T09:33:07.849" v="199"/>
          <ac:spMkLst>
            <pc:docMk/>
            <pc:sldMk cId="2201740257" sldId="429"/>
            <ac:spMk id="197" creationId="{85D1901C-874E-4D64-B494-BF73E5D9949F}"/>
          </ac:spMkLst>
        </pc:spChg>
        <pc:spChg chg="mod">
          <ac:chgData name="Daniel Hamann" userId="847c405c-7417-4257-a34f-58113b877d74" providerId="ADAL" clId="{919764FA-1775-44B6-BB7D-8A0C365D0EE5}" dt="2022-04-05T09:33:13.267" v="200"/>
          <ac:spMkLst>
            <pc:docMk/>
            <pc:sldMk cId="2201740257" sldId="429"/>
            <ac:spMk id="200" creationId="{E72D0F0E-AAD2-486F-8138-31245D0542B4}"/>
          </ac:spMkLst>
        </pc:spChg>
        <pc:spChg chg="mod">
          <ac:chgData name="Daniel Hamann" userId="847c405c-7417-4257-a34f-58113b877d74" providerId="ADAL" clId="{919764FA-1775-44B6-BB7D-8A0C365D0EE5}" dt="2022-04-05T09:33:30.857" v="205"/>
          <ac:spMkLst>
            <pc:docMk/>
            <pc:sldMk cId="2201740257" sldId="429"/>
            <ac:spMk id="203" creationId="{759F80D8-6C58-4E1A-B555-224CA4CA6B5B}"/>
          </ac:spMkLst>
        </pc:spChg>
      </pc:sldChg>
      <pc:sldChg chg="addSp delSp modSp add mod modAnim">
        <pc:chgData name="Daniel Hamann" userId="847c405c-7417-4257-a34f-58113b877d74" providerId="ADAL" clId="{919764FA-1775-44B6-BB7D-8A0C365D0EE5}" dt="2022-04-05T09:59:37.911" v="320" actId="14100"/>
        <pc:sldMkLst>
          <pc:docMk/>
          <pc:sldMk cId="911211050" sldId="430"/>
        </pc:sldMkLst>
        <pc:spChg chg="mod">
          <ac:chgData name="Daniel Hamann" userId="847c405c-7417-4257-a34f-58113b877d74" providerId="ADAL" clId="{919764FA-1775-44B6-BB7D-8A0C365D0EE5}" dt="2022-04-05T09:34:12.918" v="247" actId="20577"/>
          <ac:spMkLst>
            <pc:docMk/>
            <pc:sldMk cId="911211050" sldId="430"/>
            <ac:spMk id="6" creationId="{AF8EAC61-3C64-4CF2-AE56-F3913C7E7E44}"/>
          </ac:spMkLst>
        </pc:spChg>
        <pc:spChg chg="del">
          <ac:chgData name="Daniel Hamann" userId="847c405c-7417-4257-a34f-58113b877d74" providerId="ADAL" clId="{919764FA-1775-44B6-BB7D-8A0C365D0EE5}" dt="2022-04-05T09:59:22.822" v="314"/>
          <ac:spMkLst>
            <pc:docMk/>
            <pc:sldMk cId="911211050" sldId="430"/>
            <ac:spMk id="8" creationId="{82386CFA-D341-49FB-A188-F1C1F6015781}"/>
          </ac:spMkLst>
        </pc:spChg>
        <pc:spChg chg="mod">
          <ac:chgData name="Daniel Hamann" userId="847c405c-7417-4257-a34f-58113b877d74" providerId="ADAL" clId="{919764FA-1775-44B6-BB7D-8A0C365D0EE5}" dt="2022-04-05T09:59:37.911" v="320" actId="14100"/>
          <ac:spMkLst>
            <pc:docMk/>
            <pc:sldMk cId="911211050" sldId="430"/>
            <ac:spMk id="9" creationId="{D9614D97-67F5-405E-A1F8-19E97372C175}"/>
          </ac:spMkLst>
        </pc:spChg>
        <pc:picChg chg="add mod">
          <ac:chgData name="Daniel Hamann" userId="847c405c-7417-4257-a34f-58113b877d74" providerId="ADAL" clId="{919764FA-1775-44B6-BB7D-8A0C365D0EE5}" dt="2022-04-05T09:59:27.718" v="317" actId="1076"/>
          <ac:picMkLst>
            <pc:docMk/>
            <pc:sldMk cId="911211050" sldId="430"/>
            <ac:picMk id="4" creationId="{1728B4A4-854F-45C9-8EBC-B6CEF0CED966}"/>
          </ac:picMkLst>
        </pc:picChg>
        <pc:picChg chg="add mod">
          <ac:chgData name="Daniel Hamann" userId="847c405c-7417-4257-a34f-58113b877d74" providerId="ADAL" clId="{919764FA-1775-44B6-BB7D-8A0C365D0EE5}" dt="2022-04-05T09:59:29.632" v="318" actId="1076"/>
          <ac:picMkLst>
            <pc:docMk/>
            <pc:sldMk cId="911211050" sldId="430"/>
            <ac:picMk id="5" creationId="{D6C04CBF-A0D5-40C3-807A-7592D9AC61DC}"/>
          </ac:picMkLst>
        </pc:picChg>
      </pc:sldChg>
      <pc:sldChg chg="modSp add mod">
        <pc:chgData name="Daniel Hamann" userId="847c405c-7417-4257-a34f-58113b877d74" providerId="ADAL" clId="{919764FA-1775-44B6-BB7D-8A0C365D0EE5}" dt="2022-04-05T09:34:19.903" v="260" actId="20577"/>
        <pc:sldMkLst>
          <pc:docMk/>
          <pc:sldMk cId="92348239" sldId="431"/>
        </pc:sldMkLst>
        <pc:spChg chg="mod">
          <ac:chgData name="Daniel Hamann" userId="847c405c-7417-4257-a34f-58113b877d74" providerId="ADAL" clId="{919764FA-1775-44B6-BB7D-8A0C365D0EE5}" dt="2022-04-05T09:34:19.903" v="260" actId="20577"/>
          <ac:spMkLst>
            <pc:docMk/>
            <pc:sldMk cId="92348239" sldId="431"/>
            <ac:spMk id="6" creationId="{AF8EAC61-3C64-4CF2-AE56-F3913C7E7E44}"/>
          </ac:spMkLst>
        </pc:spChg>
      </pc:sldChg>
      <pc:sldChg chg="modSp add mod">
        <pc:chgData name="Daniel Hamann" userId="847c405c-7417-4257-a34f-58113b877d74" providerId="ADAL" clId="{919764FA-1775-44B6-BB7D-8A0C365D0EE5}" dt="2022-04-05T09:34:29.280" v="283" actId="20577"/>
        <pc:sldMkLst>
          <pc:docMk/>
          <pc:sldMk cId="3352904881" sldId="432"/>
        </pc:sldMkLst>
        <pc:spChg chg="mod">
          <ac:chgData name="Daniel Hamann" userId="847c405c-7417-4257-a34f-58113b877d74" providerId="ADAL" clId="{919764FA-1775-44B6-BB7D-8A0C365D0EE5}" dt="2022-04-05T09:34:29.280" v="283" actId="20577"/>
          <ac:spMkLst>
            <pc:docMk/>
            <pc:sldMk cId="3352904881" sldId="432"/>
            <ac:spMk id="6" creationId="{AF8EAC61-3C64-4CF2-AE56-F3913C7E7E44}"/>
          </ac:spMkLst>
        </pc:spChg>
      </pc:sldChg>
      <pc:sldChg chg="modSp add mod">
        <pc:chgData name="Daniel Hamann" userId="847c405c-7417-4257-a34f-58113b877d74" providerId="ADAL" clId="{919764FA-1775-44B6-BB7D-8A0C365D0EE5}" dt="2022-04-05T09:34:37.229" v="290" actId="20577"/>
        <pc:sldMkLst>
          <pc:docMk/>
          <pc:sldMk cId="3056604384" sldId="433"/>
        </pc:sldMkLst>
        <pc:spChg chg="mod">
          <ac:chgData name="Daniel Hamann" userId="847c405c-7417-4257-a34f-58113b877d74" providerId="ADAL" clId="{919764FA-1775-44B6-BB7D-8A0C365D0EE5}" dt="2022-04-05T09:34:37.229" v="290" actId="20577"/>
          <ac:spMkLst>
            <pc:docMk/>
            <pc:sldMk cId="3056604384" sldId="433"/>
            <ac:spMk id="6" creationId="{AF8EAC61-3C64-4CF2-AE56-F3913C7E7E44}"/>
          </ac:spMkLst>
        </pc:spChg>
      </pc:sldChg>
      <pc:sldChg chg="add del">
        <pc:chgData name="Daniel Hamann" userId="847c405c-7417-4257-a34f-58113b877d74" providerId="ADAL" clId="{919764FA-1775-44B6-BB7D-8A0C365D0EE5}" dt="2022-04-05T09:34:39.926" v="291" actId="2696"/>
        <pc:sldMkLst>
          <pc:docMk/>
          <pc:sldMk cId="2597808" sldId="434"/>
        </pc:sldMkLst>
      </pc:sldChg>
      <pc:sldChg chg="addSp delSp modSp add mod modAnim chgLayout">
        <pc:chgData name="Daniel Hamann" userId="847c405c-7417-4257-a34f-58113b877d74" providerId="ADAL" clId="{919764FA-1775-44B6-BB7D-8A0C365D0EE5}" dt="2022-04-05T09:38:30.264" v="311"/>
        <pc:sldMkLst>
          <pc:docMk/>
          <pc:sldMk cId="1062719980" sldId="434"/>
        </pc:sldMkLst>
        <pc:spChg chg="mod ord">
          <ac:chgData name="Daniel Hamann" userId="847c405c-7417-4257-a34f-58113b877d74" providerId="ADAL" clId="{919764FA-1775-44B6-BB7D-8A0C365D0EE5}" dt="2022-04-05T09:37:16.385" v="309" actId="700"/>
          <ac:spMkLst>
            <pc:docMk/>
            <pc:sldMk cId="1062719980" sldId="434"/>
            <ac:spMk id="3" creationId="{1F4D5F3E-D201-4C7A-9407-E39025F1533B}"/>
          </ac:spMkLst>
        </pc:spChg>
        <pc:spChg chg="add mod ord">
          <ac:chgData name="Daniel Hamann" userId="847c405c-7417-4257-a34f-58113b877d74" providerId="ADAL" clId="{919764FA-1775-44B6-BB7D-8A0C365D0EE5}" dt="2022-04-05T09:37:16.385" v="309" actId="700"/>
          <ac:spMkLst>
            <pc:docMk/>
            <pc:sldMk cId="1062719980" sldId="434"/>
            <ac:spMk id="4" creationId="{9294021A-F930-41F7-BD5C-24C1B4D74B5C}"/>
          </ac:spMkLst>
        </pc:spChg>
        <pc:spChg chg="add mod ord">
          <ac:chgData name="Daniel Hamann" userId="847c405c-7417-4257-a34f-58113b877d74" providerId="ADAL" clId="{919764FA-1775-44B6-BB7D-8A0C365D0EE5}" dt="2022-04-05T09:37:29.266" v="310" actId="1076"/>
          <ac:spMkLst>
            <pc:docMk/>
            <pc:sldMk cId="1062719980" sldId="434"/>
            <ac:spMk id="5" creationId="{DBA6B9EE-6AAF-4996-AE25-E0B3B6BEEB3F}"/>
          </ac:spMkLst>
        </pc:spChg>
        <pc:spChg chg="mod ord">
          <ac:chgData name="Daniel Hamann" userId="847c405c-7417-4257-a34f-58113b877d74" providerId="ADAL" clId="{919764FA-1775-44B6-BB7D-8A0C365D0EE5}" dt="2022-04-05T09:37:16.385" v="309" actId="700"/>
          <ac:spMkLst>
            <pc:docMk/>
            <pc:sldMk cId="1062719980" sldId="434"/>
            <ac:spMk id="6" creationId="{AF8EAC61-3C64-4CF2-AE56-F3913C7E7E44}"/>
          </ac:spMkLst>
        </pc:spChg>
        <pc:spChg chg="del">
          <ac:chgData name="Daniel Hamann" userId="847c405c-7417-4257-a34f-58113b877d74" providerId="ADAL" clId="{919764FA-1775-44B6-BB7D-8A0C365D0EE5}" dt="2022-04-05T09:37:16.385" v="309" actId="700"/>
          <ac:spMkLst>
            <pc:docMk/>
            <pc:sldMk cId="1062719980" sldId="434"/>
            <ac:spMk id="7" creationId="{D50CC3DF-8961-49F8-90D9-F547AFEE9186}"/>
          </ac:spMkLst>
        </pc:spChg>
        <pc:spChg chg="del">
          <ac:chgData name="Daniel Hamann" userId="847c405c-7417-4257-a34f-58113b877d74" providerId="ADAL" clId="{919764FA-1775-44B6-BB7D-8A0C365D0EE5}" dt="2022-04-05T09:36:30.257" v="304"/>
          <ac:spMkLst>
            <pc:docMk/>
            <pc:sldMk cId="1062719980" sldId="434"/>
            <ac:spMk id="8" creationId="{82386CFA-D341-49FB-A188-F1C1F6015781}"/>
          </ac:spMkLst>
        </pc:spChg>
        <pc:spChg chg="del">
          <ac:chgData name="Daniel Hamann" userId="847c405c-7417-4257-a34f-58113b877d74" providerId="ADAL" clId="{919764FA-1775-44B6-BB7D-8A0C365D0EE5}" dt="2022-04-05T09:37:10.564" v="308" actId="478"/>
          <ac:spMkLst>
            <pc:docMk/>
            <pc:sldMk cId="1062719980" sldId="434"/>
            <ac:spMk id="9" creationId="{D9614D97-67F5-405E-A1F8-19E97372C175}"/>
          </ac:spMkLst>
        </pc:spChg>
        <pc:spChg chg="del">
          <ac:chgData name="Daniel Hamann" userId="847c405c-7417-4257-a34f-58113b877d74" providerId="ADAL" clId="{919764FA-1775-44B6-BB7D-8A0C365D0EE5}" dt="2022-04-05T09:37:16.385" v="309" actId="700"/>
          <ac:spMkLst>
            <pc:docMk/>
            <pc:sldMk cId="1062719980" sldId="434"/>
            <ac:spMk id="10" creationId="{3F189A5D-5DEC-4792-AEEE-C61F5CAA8354}"/>
          </ac:spMkLst>
        </pc:spChg>
        <pc:spChg chg="add mod ord">
          <ac:chgData name="Daniel Hamann" userId="847c405c-7417-4257-a34f-58113b877d74" providerId="ADAL" clId="{919764FA-1775-44B6-BB7D-8A0C365D0EE5}" dt="2022-04-05T09:37:16.385" v="309" actId="700"/>
          <ac:spMkLst>
            <pc:docMk/>
            <pc:sldMk cId="1062719980" sldId="434"/>
            <ac:spMk id="11" creationId="{088BF6E9-83BC-40A3-B30D-DF1B013A8AD2}"/>
          </ac:spMkLst>
        </pc:spChg>
        <pc:picChg chg="add mod ord">
          <ac:chgData name="Daniel Hamann" userId="847c405c-7417-4257-a34f-58113b877d74" providerId="ADAL" clId="{919764FA-1775-44B6-BB7D-8A0C365D0EE5}" dt="2022-04-05T09:37:16.385" v="309" actId="700"/>
          <ac:picMkLst>
            <pc:docMk/>
            <pc:sldMk cId="1062719980" sldId="434"/>
            <ac:picMk id="2" creationId="{67D6E333-437D-4975-B487-878A0A68DF3A}"/>
          </ac:picMkLst>
        </pc:picChg>
      </pc:sldChg>
    </pc:docChg>
  </pc:docChgLst>
  <pc:docChgLst>
    <pc:chgData name="Daniel Hamann" userId="847c405c-7417-4257-a34f-58113b877d74" providerId="ADAL" clId="{1173E080-8BED-4155-9D29-857F04B3702D}"/>
    <pc:docChg chg="undo custSel addSld delSld modSld sldOrd delSection modSection">
      <pc:chgData name="Daniel Hamann" userId="847c405c-7417-4257-a34f-58113b877d74" providerId="ADAL" clId="{1173E080-8BED-4155-9D29-857F04B3702D}" dt="2022-04-13T09:16:46.429" v="3684" actId="6549"/>
      <pc:docMkLst>
        <pc:docMk/>
      </pc:docMkLst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947004393" sldId="336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4155269180" sldId="337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3419691827" sldId="338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3038720959" sldId="339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254456047" sldId="340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370879864" sldId="341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684844852" sldId="343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31543976" sldId="344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835701110" sldId="345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524813662" sldId="346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336045514" sldId="347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3315295276" sldId="348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745662442" sldId="349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3354830306" sldId="350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466448892" sldId="351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2704760124" sldId="352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2191268248" sldId="353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2037418230" sldId="354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302905050" sldId="355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2187347484" sldId="356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630686082" sldId="359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4197691444" sldId="360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206669884" sldId="361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326743884" sldId="362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9210300" sldId="363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33598816" sldId="364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592159595" sldId="365"/>
        </pc:sldMkLst>
      </pc:sldChg>
      <pc:sldChg chg="modSp del mod">
        <pc:chgData name="Daniel Hamann" userId="847c405c-7417-4257-a34f-58113b877d74" providerId="ADAL" clId="{1173E080-8BED-4155-9D29-857F04B3702D}" dt="2022-04-13T09:15:19.311" v="3682" actId="18676"/>
        <pc:sldMkLst>
          <pc:docMk/>
          <pc:sldMk cId="3940856595" sldId="366"/>
        </pc:sldMkLst>
        <pc:picChg chg="mod">
          <ac:chgData name="Daniel Hamann" userId="847c405c-7417-4257-a34f-58113b877d74" providerId="ADAL" clId="{1173E080-8BED-4155-9D29-857F04B3702D}" dt="2022-04-13T07:54:11.598" v="1542" actId="1036"/>
          <ac:picMkLst>
            <pc:docMk/>
            <pc:sldMk cId="3940856595" sldId="366"/>
            <ac:picMk id="72" creationId="{F6FB54B9-652B-499F-85D8-FB0E9B439FF6}"/>
          </ac:picMkLst>
        </pc:picChg>
      </pc:sldChg>
      <pc:sldChg chg="del">
        <pc:chgData name="Daniel Hamann" userId="847c405c-7417-4257-a34f-58113b877d74" providerId="ADAL" clId="{1173E080-8BED-4155-9D29-857F04B3702D}" dt="2022-04-13T09:15:19.311" v="3682" actId="18676"/>
        <pc:sldMkLst>
          <pc:docMk/>
          <pc:sldMk cId="1014320215" sldId="367"/>
        </pc:sldMkLst>
      </pc:sldChg>
      <pc:sldChg chg="del">
        <pc:chgData name="Daniel Hamann" userId="847c405c-7417-4257-a34f-58113b877d74" providerId="ADAL" clId="{1173E080-8BED-4155-9D29-857F04B3702D}" dt="2022-04-13T09:15:19.311" v="3682" actId="18676"/>
        <pc:sldMkLst>
          <pc:docMk/>
          <pc:sldMk cId="874914692" sldId="368"/>
        </pc:sldMkLst>
      </pc:sldChg>
      <pc:sldChg chg="del">
        <pc:chgData name="Daniel Hamann" userId="847c405c-7417-4257-a34f-58113b877d74" providerId="ADAL" clId="{1173E080-8BED-4155-9D29-857F04B3702D}" dt="2022-04-13T09:15:19.311" v="3682" actId="18676"/>
        <pc:sldMkLst>
          <pc:docMk/>
          <pc:sldMk cId="2223883424" sldId="369"/>
        </pc:sldMkLst>
      </pc:sldChg>
      <pc:sldChg chg="del">
        <pc:chgData name="Daniel Hamann" userId="847c405c-7417-4257-a34f-58113b877d74" providerId="ADAL" clId="{1173E080-8BED-4155-9D29-857F04B3702D}" dt="2022-04-13T09:15:19.311" v="3682" actId="18676"/>
        <pc:sldMkLst>
          <pc:docMk/>
          <pc:sldMk cId="2086820258" sldId="372"/>
        </pc:sldMkLst>
      </pc:sldChg>
      <pc:sldChg chg="del">
        <pc:chgData name="Daniel Hamann" userId="847c405c-7417-4257-a34f-58113b877d74" providerId="ADAL" clId="{1173E080-8BED-4155-9D29-857F04B3702D}" dt="2022-04-13T09:15:19.311" v="3682" actId="18676"/>
        <pc:sldMkLst>
          <pc:docMk/>
          <pc:sldMk cId="1758373318" sldId="373"/>
        </pc:sldMkLst>
      </pc:sldChg>
      <pc:sldChg chg="addSp delSp modSp del mod">
        <pc:chgData name="Daniel Hamann" userId="847c405c-7417-4257-a34f-58113b877d74" providerId="ADAL" clId="{1173E080-8BED-4155-9D29-857F04B3702D}" dt="2022-04-13T09:15:19.311" v="3682" actId="18676"/>
        <pc:sldMkLst>
          <pc:docMk/>
          <pc:sldMk cId="3392096116" sldId="374"/>
        </pc:sldMkLst>
        <pc:picChg chg="add del mod">
          <ac:chgData name="Daniel Hamann" userId="847c405c-7417-4257-a34f-58113b877d74" providerId="ADAL" clId="{1173E080-8BED-4155-9D29-857F04B3702D}" dt="2022-04-13T08:05:33.337" v="1899" actId="21"/>
          <ac:picMkLst>
            <pc:docMk/>
            <pc:sldMk cId="3392096116" sldId="374"/>
            <ac:picMk id="3" creationId="{D0E8DFEC-5963-48BA-A46E-6A439261461E}"/>
          </ac:picMkLst>
        </pc:picChg>
      </pc:sldChg>
      <pc:sldChg chg="del">
        <pc:chgData name="Daniel Hamann" userId="847c405c-7417-4257-a34f-58113b877d74" providerId="ADAL" clId="{1173E080-8BED-4155-9D29-857F04B3702D}" dt="2022-04-13T09:15:19.311" v="3682" actId="18676"/>
        <pc:sldMkLst>
          <pc:docMk/>
          <pc:sldMk cId="3615068782" sldId="375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3852887038" sldId="376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2497184076" sldId="378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941330492" sldId="379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216177301" sldId="380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2169851743" sldId="382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045533942" sldId="384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769863677" sldId="385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904502109" sldId="386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181553170" sldId="387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2311678989" sldId="388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686671835" sldId="389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590577401" sldId="391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2824741347" sldId="422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737801744" sldId="424"/>
        </pc:sldMkLst>
      </pc:sldChg>
      <pc:sldChg chg="modSp mod">
        <pc:chgData name="Daniel Hamann" userId="847c405c-7417-4257-a34f-58113b877d74" providerId="ADAL" clId="{1173E080-8BED-4155-9D29-857F04B3702D}" dt="2022-04-13T08:42:04.060" v="2633" actId="20577"/>
        <pc:sldMkLst>
          <pc:docMk/>
          <pc:sldMk cId="3808728708" sldId="426"/>
        </pc:sldMkLst>
        <pc:spChg chg="mod">
          <ac:chgData name="Daniel Hamann" userId="847c405c-7417-4257-a34f-58113b877d74" providerId="ADAL" clId="{1173E080-8BED-4155-9D29-857F04B3702D}" dt="2022-04-13T08:42:04.060" v="2633" actId="20577"/>
          <ac:spMkLst>
            <pc:docMk/>
            <pc:sldMk cId="3808728708" sldId="426"/>
            <ac:spMk id="13" creationId="{62B6EAAC-0294-4866-B44D-C1EFE7ACA4E5}"/>
          </ac:spMkLst>
        </pc:spChg>
      </pc:sldChg>
      <pc:sldChg chg="addSp delSp modSp del mod modClrScheme chgLayout">
        <pc:chgData name="Daniel Hamann" userId="847c405c-7417-4257-a34f-58113b877d74" providerId="ADAL" clId="{1173E080-8BED-4155-9D29-857F04B3702D}" dt="2022-04-12T16:33:34.558" v="66" actId="47"/>
        <pc:sldMkLst>
          <pc:docMk/>
          <pc:sldMk cId="3406666726" sldId="428"/>
        </pc:sldMkLst>
        <pc:spChg chg="add del mod ord">
          <ac:chgData name="Daniel Hamann" userId="847c405c-7417-4257-a34f-58113b877d74" providerId="ADAL" clId="{1173E080-8BED-4155-9D29-857F04B3702D}" dt="2022-04-12T16:32:56.333" v="60" actId="700"/>
          <ac:spMkLst>
            <pc:docMk/>
            <pc:sldMk cId="3406666726" sldId="428"/>
            <ac:spMk id="2" creationId="{756C78EF-20D9-405F-A01C-65C5F69498B9}"/>
          </ac:spMkLst>
        </pc:spChg>
        <pc:spChg chg="mod ord">
          <ac:chgData name="Daniel Hamann" userId="847c405c-7417-4257-a34f-58113b877d74" providerId="ADAL" clId="{1173E080-8BED-4155-9D29-857F04B3702D}" dt="2022-04-12T16:32:56.333" v="60" actId="700"/>
          <ac:spMkLst>
            <pc:docMk/>
            <pc:sldMk cId="3406666726" sldId="428"/>
            <ac:spMk id="3" creationId="{1F4D5F3E-D201-4C7A-9407-E39025F1533B}"/>
          </ac:spMkLst>
        </pc:spChg>
        <pc:spChg chg="add del mod ord">
          <ac:chgData name="Daniel Hamann" userId="847c405c-7417-4257-a34f-58113b877d74" providerId="ADAL" clId="{1173E080-8BED-4155-9D29-857F04B3702D}" dt="2022-04-12T16:31:08.628" v="29" actId="931"/>
          <ac:spMkLst>
            <pc:docMk/>
            <pc:sldMk cId="3406666726" sldId="428"/>
            <ac:spMk id="4" creationId="{4B13A4BE-44F7-4719-B0C8-95F492862B16}"/>
          </ac:spMkLst>
        </pc:spChg>
        <pc:spChg chg="add del mod ord">
          <ac:chgData name="Daniel Hamann" userId="847c405c-7417-4257-a34f-58113b877d74" providerId="ADAL" clId="{1173E080-8BED-4155-9D29-857F04B3702D}" dt="2022-04-12T16:32:56.333" v="60" actId="700"/>
          <ac:spMkLst>
            <pc:docMk/>
            <pc:sldMk cId="3406666726" sldId="428"/>
            <ac:spMk id="5" creationId="{7725A124-4402-45CD-B376-1F724E256166}"/>
          </ac:spMkLst>
        </pc:spChg>
        <pc:spChg chg="mod ord">
          <ac:chgData name="Daniel Hamann" userId="847c405c-7417-4257-a34f-58113b877d74" providerId="ADAL" clId="{1173E080-8BED-4155-9D29-857F04B3702D}" dt="2022-04-12T16:32:56.333" v="60" actId="700"/>
          <ac:spMkLst>
            <pc:docMk/>
            <pc:sldMk cId="3406666726" sldId="428"/>
            <ac:spMk id="6" creationId="{AF8EAC61-3C64-4CF2-AE56-F3913C7E7E44}"/>
          </ac:spMkLst>
        </pc:spChg>
        <pc:spChg chg="del mod ord">
          <ac:chgData name="Daniel Hamann" userId="847c405c-7417-4257-a34f-58113b877d74" providerId="ADAL" clId="{1173E080-8BED-4155-9D29-857F04B3702D}" dt="2022-04-12T16:29:09.378" v="6" actId="700"/>
          <ac:spMkLst>
            <pc:docMk/>
            <pc:sldMk cId="3406666726" sldId="428"/>
            <ac:spMk id="7" creationId="{D50CC3DF-8961-49F8-90D9-F547AFEE9186}"/>
          </ac:spMkLst>
        </pc:spChg>
        <pc:spChg chg="del mod ord">
          <ac:chgData name="Daniel Hamann" userId="847c405c-7417-4257-a34f-58113b877d74" providerId="ADAL" clId="{1173E080-8BED-4155-9D29-857F04B3702D}" dt="2022-04-12T16:29:09.378" v="6" actId="700"/>
          <ac:spMkLst>
            <pc:docMk/>
            <pc:sldMk cId="3406666726" sldId="428"/>
            <ac:spMk id="8" creationId="{82386CFA-D341-49FB-A188-F1C1F6015781}"/>
          </ac:spMkLst>
        </pc:spChg>
        <pc:spChg chg="del mod ord">
          <ac:chgData name="Daniel Hamann" userId="847c405c-7417-4257-a34f-58113b877d74" providerId="ADAL" clId="{1173E080-8BED-4155-9D29-857F04B3702D}" dt="2022-04-12T16:29:09.378" v="6" actId="700"/>
          <ac:spMkLst>
            <pc:docMk/>
            <pc:sldMk cId="3406666726" sldId="428"/>
            <ac:spMk id="9" creationId="{D9614D97-67F5-405E-A1F8-19E97372C175}"/>
          </ac:spMkLst>
        </pc:spChg>
        <pc:spChg chg="del mod ord">
          <ac:chgData name="Daniel Hamann" userId="847c405c-7417-4257-a34f-58113b877d74" providerId="ADAL" clId="{1173E080-8BED-4155-9D29-857F04B3702D}" dt="2022-04-12T16:29:09.378" v="6" actId="700"/>
          <ac:spMkLst>
            <pc:docMk/>
            <pc:sldMk cId="3406666726" sldId="428"/>
            <ac:spMk id="10" creationId="{3F189A5D-5DEC-4792-AEEE-C61F5CAA8354}"/>
          </ac:spMkLst>
        </pc:spChg>
        <pc:spChg chg="add del mod ord">
          <ac:chgData name="Daniel Hamann" userId="847c405c-7417-4257-a34f-58113b877d74" providerId="ADAL" clId="{1173E080-8BED-4155-9D29-857F04B3702D}" dt="2022-04-12T16:31:08.628" v="29" actId="931"/>
          <ac:spMkLst>
            <pc:docMk/>
            <pc:sldMk cId="3406666726" sldId="428"/>
            <ac:spMk id="11" creationId="{5F0E19C7-0A2F-460D-B3C1-FB20EB21DBD8}"/>
          </ac:spMkLst>
        </pc:spChg>
        <pc:spChg chg="add mod">
          <ac:chgData name="Daniel Hamann" userId="847c405c-7417-4257-a34f-58113b877d74" providerId="ADAL" clId="{1173E080-8BED-4155-9D29-857F04B3702D}" dt="2022-04-12T16:30:27.826" v="23" actId="14100"/>
          <ac:spMkLst>
            <pc:docMk/>
            <pc:sldMk cId="3406666726" sldId="428"/>
            <ac:spMk id="14" creationId="{143EFC17-A595-4CD7-92F6-0CF0DC05E35E}"/>
          </ac:spMkLst>
        </pc:spChg>
        <pc:spChg chg="add mod">
          <ac:chgData name="Daniel Hamann" userId="847c405c-7417-4257-a34f-58113b877d74" providerId="ADAL" clId="{1173E080-8BED-4155-9D29-857F04B3702D}" dt="2022-04-12T16:30:38.727" v="26" actId="14100"/>
          <ac:spMkLst>
            <pc:docMk/>
            <pc:sldMk cId="3406666726" sldId="428"/>
            <ac:spMk id="15" creationId="{B4786FE9-DBAC-4B79-876D-2607CC67221B}"/>
          </ac:spMkLst>
        </pc:spChg>
        <pc:spChg chg="add del">
          <ac:chgData name="Daniel Hamann" userId="847c405c-7417-4257-a34f-58113b877d74" providerId="ADAL" clId="{1173E080-8BED-4155-9D29-857F04B3702D}" dt="2022-04-12T16:30:50.086" v="28" actId="478"/>
          <ac:spMkLst>
            <pc:docMk/>
            <pc:sldMk cId="3406666726" sldId="428"/>
            <ac:spMk id="16" creationId="{19CE34EE-803A-47CA-A4C9-FEC5558013F4}"/>
          </ac:spMkLst>
        </pc:spChg>
        <pc:spChg chg="add del mod ord">
          <ac:chgData name="Daniel Hamann" userId="847c405c-7417-4257-a34f-58113b877d74" providerId="ADAL" clId="{1173E080-8BED-4155-9D29-857F04B3702D}" dt="2022-04-12T16:32:12.648" v="54" actId="700"/>
          <ac:spMkLst>
            <pc:docMk/>
            <pc:sldMk cId="3406666726" sldId="428"/>
            <ac:spMk id="21" creationId="{85D9123D-F295-4795-923E-F1EB7952576E}"/>
          </ac:spMkLst>
        </pc:spChg>
        <pc:spChg chg="add del mod ord">
          <ac:chgData name="Daniel Hamann" userId="847c405c-7417-4257-a34f-58113b877d74" providerId="ADAL" clId="{1173E080-8BED-4155-9D29-857F04B3702D}" dt="2022-04-12T16:32:12.648" v="54" actId="700"/>
          <ac:spMkLst>
            <pc:docMk/>
            <pc:sldMk cId="3406666726" sldId="428"/>
            <ac:spMk id="22" creationId="{05E39489-ADD9-4399-B804-942C281F46C7}"/>
          </ac:spMkLst>
        </pc:spChg>
        <pc:spChg chg="add del mod">
          <ac:chgData name="Daniel Hamann" userId="847c405c-7417-4257-a34f-58113b877d74" providerId="ADAL" clId="{1173E080-8BED-4155-9D29-857F04B3702D}" dt="2022-04-12T16:32:50.429" v="59" actId="478"/>
          <ac:spMkLst>
            <pc:docMk/>
            <pc:sldMk cId="3406666726" sldId="428"/>
            <ac:spMk id="24" creationId="{E97DA6ED-1BDC-4372-A32E-B0BB923A4D6F}"/>
          </ac:spMkLst>
        </pc:spChg>
        <pc:spChg chg="add mod ord">
          <ac:chgData name="Daniel Hamann" userId="847c405c-7417-4257-a34f-58113b877d74" providerId="ADAL" clId="{1173E080-8BED-4155-9D29-857F04B3702D}" dt="2022-04-12T16:32:56.333" v="60" actId="700"/>
          <ac:spMkLst>
            <pc:docMk/>
            <pc:sldMk cId="3406666726" sldId="428"/>
            <ac:spMk id="25" creationId="{803A5C7F-D11B-4029-B815-B5DB40DBD142}"/>
          </ac:spMkLst>
        </pc:spChg>
        <pc:spChg chg="add mod ord">
          <ac:chgData name="Daniel Hamann" userId="847c405c-7417-4257-a34f-58113b877d74" providerId="ADAL" clId="{1173E080-8BED-4155-9D29-857F04B3702D}" dt="2022-04-12T16:32:56.333" v="60" actId="700"/>
          <ac:spMkLst>
            <pc:docMk/>
            <pc:sldMk cId="3406666726" sldId="428"/>
            <ac:spMk id="26" creationId="{907DD6CA-2176-4B44-994E-960C0105EF4B}"/>
          </ac:spMkLst>
        </pc:spChg>
        <pc:spChg chg="add mod ord">
          <ac:chgData name="Daniel Hamann" userId="847c405c-7417-4257-a34f-58113b877d74" providerId="ADAL" clId="{1173E080-8BED-4155-9D29-857F04B3702D}" dt="2022-04-12T16:32:56.333" v="60" actId="700"/>
          <ac:spMkLst>
            <pc:docMk/>
            <pc:sldMk cId="3406666726" sldId="428"/>
            <ac:spMk id="27" creationId="{6657F00E-0826-45C8-98BA-8CD0F4CBAEE3}"/>
          </ac:spMkLst>
        </pc:spChg>
        <pc:picChg chg="add mod modCrop">
          <ac:chgData name="Daniel Hamann" userId="847c405c-7417-4257-a34f-58113b877d74" providerId="ADAL" clId="{1173E080-8BED-4155-9D29-857F04B3702D}" dt="2022-04-12T16:32:49.577" v="58" actId="1076"/>
          <ac:picMkLst>
            <pc:docMk/>
            <pc:sldMk cId="3406666726" sldId="428"/>
            <ac:picMk id="13" creationId="{4B153504-D708-4875-BBD1-9DE43976BB00}"/>
          </ac:picMkLst>
        </pc:picChg>
        <pc:picChg chg="add del mod ord modCrop">
          <ac:chgData name="Daniel Hamann" userId="847c405c-7417-4257-a34f-58113b877d74" providerId="ADAL" clId="{1173E080-8BED-4155-9D29-857F04B3702D}" dt="2022-04-12T16:32:47.642" v="57" actId="478"/>
          <ac:picMkLst>
            <pc:docMk/>
            <pc:sldMk cId="3406666726" sldId="428"/>
            <ac:picMk id="18" creationId="{EEAC010A-35DD-4AA0-9152-7DC989AC0AE5}"/>
          </ac:picMkLst>
        </pc:picChg>
        <pc:picChg chg="add mod ord">
          <ac:chgData name="Daniel Hamann" userId="847c405c-7417-4257-a34f-58113b877d74" providerId="ADAL" clId="{1173E080-8BED-4155-9D29-857F04B3702D}" dt="2022-04-12T16:32:56.333" v="60" actId="700"/>
          <ac:picMkLst>
            <pc:docMk/>
            <pc:sldMk cId="3406666726" sldId="428"/>
            <ac:picMk id="20" creationId="{88C3A9C0-45FA-4DF1-A9AA-FB6D80A409E5}"/>
          </ac:picMkLst>
        </pc:picChg>
      </pc:sldChg>
      <pc:sldChg chg="addSp delSp modSp mod">
        <pc:chgData name="Daniel Hamann" userId="847c405c-7417-4257-a34f-58113b877d74" providerId="ADAL" clId="{1173E080-8BED-4155-9D29-857F04B3702D}" dt="2022-04-13T08:50:34.484" v="3415" actId="478"/>
        <pc:sldMkLst>
          <pc:docMk/>
          <pc:sldMk cId="2201740257" sldId="429"/>
        </pc:sldMkLst>
        <pc:spChg chg="add del mod">
          <ac:chgData name="Daniel Hamann" userId="847c405c-7417-4257-a34f-58113b877d74" providerId="ADAL" clId="{1173E080-8BED-4155-9D29-857F04B3702D}" dt="2022-04-13T08:50:34.484" v="3415" actId="478"/>
          <ac:spMkLst>
            <pc:docMk/>
            <pc:sldMk cId="2201740257" sldId="429"/>
            <ac:spMk id="3" creationId="{8D46098B-9EF6-42A4-BB3F-C432160A7102}"/>
          </ac:spMkLst>
        </pc:spChg>
        <pc:spChg chg="add del mod">
          <ac:chgData name="Daniel Hamann" userId="847c405c-7417-4257-a34f-58113b877d74" providerId="ADAL" clId="{1173E080-8BED-4155-9D29-857F04B3702D}" dt="2022-04-13T08:50:34.484" v="3415" actId="478"/>
          <ac:spMkLst>
            <pc:docMk/>
            <pc:sldMk cId="2201740257" sldId="429"/>
            <ac:spMk id="5" creationId="{6E663C3C-F0A6-4235-9389-654BA315B108}"/>
          </ac:spMkLst>
        </pc:spChg>
        <pc:spChg chg="mod">
          <ac:chgData name="Daniel Hamann" userId="847c405c-7417-4257-a34f-58113b877d74" providerId="ADAL" clId="{1173E080-8BED-4155-9D29-857F04B3702D}" dt="2022-04-13T08:49:36.654" v="3390" actId="20577"/>
          <ac:spMkLst>
            <pc:docMk/>
            <pc:sldMk cId="2201740257" sldId="429"/>
            <ac:spMk id="6" creationId="{8A12327F-1131-482D-954E-894DEC9EF3F1}"/>
          </ac:spMkLst>
        </pc:spChg>
        <pc:spChg chg="add del mod">
          <ac:chgData name="Daniel Hamann" userId="847c405c-7417-4257-a34f-58113b877d74" providerId="ADAL" clId="{1173E080-8BED-4155-9D29-857F04B3702D}" dt="2022-04-13T08:50:34.484" v="3415" actId="478"/>
          <ac:spMkLst>
            <pc:docMk/>
            <pc:sldMk cId="2201740257" sldId="429"/>
            <ac:spMk id="8" creationId="{A42BE15D-2436-4EB8-922F-2CABEC3C5569}"/>
          </ac:spMkLst>
        </pc:spChg>
        <pc:spChg chg="add del mod">
          <ac:chgData name="Daniel Hamann" userId="847c405c-7417-4257-a34f-58113b877d74" providerId="ADAL" clId="{1173E080-8BED-4155-9D29-857F04B3702D}" dt="2022-04-13T08:50:34.484" v="3415" actId="478"/>
          <ac:spMkLst>
            <pc:docMk/>
            <pc:sldMk cId="2201740257" sldId="429"/>
            <ac:spMk id="10" creationId="{18859451-09C2-403E-9549-6398CD23B103}"/>
          </ac:spMkLst>
        </pc:spChg>
        <pc:spChg chg="del">
          <ac:chgData name="Daniel Hamann" userId="847c405c-7417-4257-a34f-58113b877d74" providerId="ADAL" clId="{1173E080-8BED-4155-9D29-857F04B3702D}" dt="2022-04-13T08:50:29.418" v="3413" actId="478"/>
          <ac:spMkLst>
            <pc:docMk/>
            <pc:sldMk cId="2201740257" sldId="429"/>
            <ac:spMk id="33" creationId="{263113CB-4CD9-44E3-ABA2-180A4AC766D6}"/>
          </ac:spMkLst>
        </pc:spChg>
        <pc:spChg chg="del">
          <ac:chgData name="Daniel Hamann" userId="847c405c-7417-4257-a34f-58113b877d74" providerId="ADAL" clId="{1173E080-8BED-4155-9D29-857F04B3702D}" dt="2022-04-13T08:50:29.418" v="3413" actId="478"/>
          <ac:spMkLst>
            <pc:docMk/>
            <pc:sldMk cId="2201740257" sldId="429"/>
            <ac:spMk id="40" creationId="{E96176A8-49A1-4A98-B344-E18E879717A3}"/>
          </ac:spMkLst>
        </pc:spChg>
        <pc:spChg chg="mod">
          <ac:chgData name="Daniel Hamann" userId="847c405c-7417-4257-a34f-58113b877d74" providerId="ADAL" clId="{1173E080-8BED-4155-9D29-857F04B3702D}" dt="2022-04-13T08:49:33.937" v="3389" actId="20577"/>
          <ac:spMkLst>
            <pc:docMk/>
            <pc:sldMk cId="2201740257" sldId="429"/>
            <ac:spMk id="45" creationId="{0B1198CB-D12B-421A-93D0-8C56312E30F4}"/>
          </ac:spMkLst>
        </pc:spChg>
        <pc:spChg chg="mod">
          <ac:chgData name="Daniel Hamann" userId="847c405c-7417-4257-a34f-58113b877d74" providerId="ADAL" clId="{1173E080-8BED-4155-9D29-857F04B3702D}" dt="2022-04-13T08:49:47.152" v="3392" actId="20577"/>
          <ac:spMkLst>
            <pc:docMk/>
            <pc:sldMk cId="2201740257" sldId="429"/>
            <ac:spMk id="178" creationId="{40361B5C-04EA-40A9-91E2-5E0D03850F04}"/>
          </ac:spMkLst>
        </pc:spChg>
        <pc:spChg chg="mod">
          <ac:chgData name="Daniel Hamann" userId="847c405c-7417-4257-a34f-58113b877d74" providerId="ADAL" clId="{1173E080-8BED-4155-9D29-857F04B3702D}" dt="2022-04-13T08:50:10.224" v="3404" actId="20577"/>
          <ac:spMkLst>
            <pc:docMk/>
            <pc:sldMk cId="2201740257" sldId="429"/>
            <ac:spMk id="181" creationId="{860FD97A-601C-4FF7-936B-96E8AE407F72}"/>
          </ac:spMkLst>
        </pc:spChg>
        <pc:spChg chg="del">
          <ac:chgData name="Daniel Hamann" userId="847c405c-7417-4257-a34f-58113b877d74" providerId="ADAL" clId="{1173E080-8BED-4155-9D29-857F04B3702D}" dt="2022-04-13T08:50:29.418" v="3413" actId="478"/>
          <ac:spMkLst>
            <pc:docMk/>
            <pc:sldMk cId="2201740257" sldId="429"/>
            <ac:spMk id="184" creationId="{F57A899F-DDD4-49AB-B9FC-0358D18E82DF}"/>
          </ac:spMkLst>
        </pc:spChg>
        <pc:spChg chg="del">
          <ac:chgData name="Daniel Hamann" userId="847c405c-7417-4257-a34f-58113b877d74" providerId="ADAL" clId="{1173E080-8BED-4155-9D29-857F04B3702D}" dt="2022-04-13T08:50:31.947" v="3414" actId="478"/>
          <ac:spMkLst>
            <pc:docMk/>
            <pc:sldMk cId="2201740257" sldId="429"/>
            <ac:spMk id="185" creationId="{1136CD69-C074-465E-B9C4-D5F64CE0B09B}"/>
          </ac:spMkLst>
        </pc:spChg>
        <pc:spChg chg="mod">
          <ac:chgData name="Daniel Hamann" userId="847c405c-7417-4257-a34f-58113b877d74" providerId="ADAL" clId="{1173E080-8BED-4155-9D29-857F04B3702D}" dt="2022-04-13T08:50:24.379" v="3408" actId="20577"/>
          <ac:spMkLst>
            <pc:docMk/>
            <pc:sldMk cId="2201740257" sldId="429"/>
            <ac:spMk id="190" creationId="{6F267383-00ED-4749-BF8E-39A206F44ECD}"/>
          </ac:spMkLst>
        </pc:spChg>
        <pc:spChg chg="mod">
          <ac:chgData name="Daniel Hamann" userId="847c405c-7417-4257-a34f-58113b877d74" providerId="ADAL" clId="{1173E080-8BED-4155-9D29-857F04B3702D}" dt="2022-04-13T08:49:54.940" v="3396" actId="20577"/>
          <ac:spMkLst>
            <pc:docMk/>
            <pc:sldMk cId="2201740257" sldId="429"/>
            <ac:spMk id="196" creationId="{F068C355-A96C-4C36-9999-28C52C3EF347}"/>
          </ac:spMkLst>
        </pc:spChg>
        <pc:spChg chg="mod">
          <ac:chgData name="Daniel Hamann" userId="847c405c-7417-4257-a34f-58113b877d74" providerId="ADAL" clId="{1173E080-8BED-4155-9D29-857F04B3702D}" dt="2022-04-13T08:50:02.268" v="3400" actId="20577"/>
          <ac:spMkLst>
            <pc:docMk/>
            <pc:sldMk cId="2201740257" sldId="429"/>
            <ac:spMk id="199" creationId="{CE9AE38D-0ABC-461C-B845-C82DACD60B92}"/>
          </ac:spMkLst>
        </pc:spChg>
        <pc:spChg chg="mod">
          <ac:chgData name="Daniel Hamann" userId="847c405c-7417-4257-a34f-58113b877d74" providerId="ADAL" clId="{1173E080-8BED-4155-9D29-857F04B3702D}" dt="2022-04-13T08:50:26.464" v="3412" actId="20577"/>
          <ac:spMkLst>
            <pc:docMk/>
            <pc:sldMk cId="2201740257" sldId="429"/>
            <ac:spMk id="202" creationId="{F69CD99C-670E-4658-B02C-1E7E62DDFD77}"/>
          </ac:spMkLst>
        </pc:spChg>
        <pc:spChg chg="del">
          <ac:chgData name="Daniel Hamann" userId="847c405c-7417-4257-a34f-58113b877d74" providerId="ADAL" clId="{1173E080-8BED-4155-9D29-857F04B3702D}" dt="2022-04-13T08:50:29.418" v="3413" actId="478"/>
          <ac:spMkLst>
            <pc:docMk/>
            <pc:sldMk cId="2201740257" sldId="429"/>
            <ac:spMk id="205" creationId="{AAD21B5D-A139-4009-AB75-BA9E4F6C4C10}"/>
          </ac:spMkLst>
        </pc:spChg>
        <pc:spChg chg="del">
          <ac:chgData name="Daniel Hamann" userId="847c405c-7417-4257-a34f-58113b877d74" providerId="ADAL" clId="{1173E080-8BED-4155-9D29-857F04B3702D}" dt="2022-04-13T08:50:31.947" v="3414" actId="478"/>
          <ac:spMkLst>
            <pc:docMk/>
            <pc:sldMk cId="2201740257" sldId="429"/>
            <ac:spMk id="206" creationId="{15F811F0-37F3-4874-9FC1-865B6871A749}"/>
          </ac:spMkLst>
        </pc:spChg>
      </pc:sldChg>
      <pc:sldChg chg="addSp delSp modSp add del mod modClrScheme addAnim delAnim modAnim chgLayout">
        <pc:chgData name="Daniel Hamann" userId="847c405c-7417-4257-a34f-58113b877d74" providerId="ADAL" clId="{1173E080-8BED-4155-9D29-857F04B3702D}" dt="2022-04-12T16:56:03.521" v="649" actId="47"/>
        <pc:sldMkLst>
          <pc:docMk/>
          <pc:sldMk cId="911211050" sldId="430"/>
        </pc:sldMkLst>
        <pc:spChg chg="mod ord">
          <ac:chgData name="Daniel Hamann" userId="847c405c-7417-4257-a34f-58113b877d74" providerId="ADAL" clId="{1173E080-8BED-4155-9D29-857F04B3702D}" dt="2022-04-12T16:54:38.870" v="619" actId="700"/>
          <ac:spMkLst>
            <pc:docMk/>
            <pc:sldMk cId="911211050" sldId="430"/>
            <ac:spMk id="3" creationId="{1F4D5F3E-D201-4C7A-9407-E39025F1533B}"/>
          </ac:spMkLst>
        </pc:spChg>
        <pc:spChg chg="mod ord">
          <ac:chgData name="Daniel Hamann" userId="847c405c-7417-4257-a34f-58113b877d74" providerId="ADAL" clId="{1173E080-8BED-4155-9D29-857F04B3702D}" dt="2022-04-12T16:54:38.870" v="619" actId="700"/>
          <ac:spMkLst>
            <pc:docMk/>
            <pc:sldMk cId="911211050" sldId="430"/>
            <ac:spMk id="6" creationId="{AF8EAC61-3C64-4CF2-AE56-F3913C7E7E44}"/>
          </ac:spMkLst>
        </pc:spChg>
        <pc:spChg chg="add del mod ord">
          <ac:chgData name="Daniel Hamann" userId="847c405c-7417-4257-a34f-58113b877d74" providerId="ADAL" clId="{1173E080-8BED-4155-9D29-857F04B3702D}" dt="2022-04-12T16:54:38.870" v="619" actId="700"/>
          <ac:spMkLst>
            <pc:docMk/>
            <pc:sldMk cId="911211050" sldId="430"/>
            <ac:spMk id="7" creationId="{D50CC3DF-8961-49F8-90D9-F547AFEE9186}"/>
          </ac:spMkLst>
        </pc:spChg>
        <pc:spChg chg="add del mod">
          <ac:chgData name="Daniel Hamann" userId="847c405c-7417-4257-a34f-58113b877d74" providerId="ADAL" clId="{1173E080-8BED-4155-9D29-857F04B3702D}" dt="2022-04-12T16:53:34.252" v="612" actId="478"/>
          <ac:spMkLst>
            <pc:docMk/>
            <pc:sldMk cId="911211050" sldId="430"/>
            <ac:spMk id="8" creationId="{A61FA92E-F62E-4376-9179-51ABBDE068DD}"/>
          </ac:spMkLst>
        </pc:spChg>
        <pc:spChg chg="del mod">
          <ac:chgData name="Daniel Hamann" userId="847c405c-7417-4257-a34f-58113b877d74" providerId="ADAL" clId="{1173E080-8BED-4155-9D29-857F04B3702D}" dt="2022-04-12T16:53:32.358" v="610" actId="478"/>
          <ac:spMkLst>
            <pc:docMk/>
            <pc:sldMk cId="911211050" sldId="430"/>
            <ac:spMk id="9" creationId="{D9614D97-67F5-405E-A1F8-19E97372C175}"/>
          </ac:spMkLst>
        </pc:spChg>
        <pc:spChg chg="del mod ord">
          <ac:chgData name="Daniel Hamann" userId="847c405c-7417-4257-a34f-58113b877d74" providerId="ADAL" clId="{1173E080-8BED-4155-9D29-857F04B3702D}" dt="2022-04-12T16:54:38.870" v="619" actId="700"/>
          <ac:spMkLst>
            <pc:docMk/>
            <pc:sldMk cId="911211050" sldId="430"/>
            <ac:spMk id="10" creationId="{3F189A5D-5DEC-4792-AEEE-C61F5CAA8354}"/>
          </ac:spMkLst>
        </pc:spChg>
        <pc:spChg chg="add del mod">
          <ac:chgData name="Daniel Hamann" userId="847c405c-7417-4257-a34f-58113b877d74" providerId="ADAL" clId="{1173E080-8BED-4155-9D29-857F04B3702D}" dt="2022-04-12T16:54:32.875" v="617"/>
          <ac:spMkLst>
            <pc:docMk/>
            <pc:sldMk cId="911211050" sldId="430"/>
            <ac:spMk id="12" creationId="{05C95237-BE8C-40A4-8093-CB063F224E6C}"/>
          </ac:spMkLst>
        </pc:spChg>
        <pc:spChg chg="add mod ord">
          <ac:chgData name="Daniel Hamann" userId="847c405c-7417-4257-a34f-58113b877d74" providerId="ADAL" clId="{1173E080-8BED-4155-9D29-857F04B3702D}" dt="2022-04-12T16:54:38.870" v="619" actId="700"/>
          <ac:spMkLst>
            <pc:docMk/>
            <pc:sldMk cId="911211050" sldId="430"/>
            <ac:spMk id="14" creationId="{64AE2DE8-970A-455B-AED4-BC5215A8628B}"/>
          </ac:spMkLst>
        </pc:spChg>
        <pc:spChg chg="add mod ord">
          <ac:chgData name="Daniel Hamann" userId="847c405c-7417-4257-a34f-58113b877d74" providerId="ADAL" clId="{1173E080-8BED-4155-9D29-857F04B3702D}" dt="2022-04-12T16:54:38.870" v="619" actId="700"/>
          <ac:spMkLst>
            <pc:docMk/>
            <pc:sldMk cId="911211050" sldId="430"/>
            <ac:spMk id="15" creationId="{DD9CCBC6-A105-40F0-BAD1-951586BE0399}"/>
          </ac:spMkLst>
        </pc:spChg>
        <pc:spChg chg="add del mod ord">
          <ac:chgData name="Daniel Hamann" userId="847c405c-7417-4257-a34f-58113b877d74" providerId="ADAL" clId="{1173E080-8BED-4155-9D29-857F04B3702D}" dt="2022-04-12T16:54:41.960" v="621" actId="478"/>
          <ac:spMkLst>
            <pc:docMk/>
            <pc:sldMk cId="911211050" sldId="430"/>
            <ac:spMk id="16" creationId="{C6C9B37C-C5B6-434B-89E7-05CB010EE490}"/>
          </ac:spMkLst>
        </pc:spChg>
        <pc:spChg chg="add mod">
          <ac:chgData name="Daniel Hamann" userId="847c405c-7417-4257-a34f-58113b877d74" providerId="ADAL" clId="{1173E080-8BED-4155-9D29-857F04B3702D}" dt="2022-04-12T16:55:54.524" v="645" actId="478"/>
          <ac:spMkLst>
            <pc:docMk/>
            <pc:sldMk cId="911211050" sldId="430"/>
            <ac:spMk id="18" creationId="{B78161F5-F38D-4D9B-8DEC-1921B8FC753F}"/>
          </ac:spMkLst>
        </pc:spChg>
        <pc:picChg chg="add del mod">
          <ac:chgData name="Daniel Hamann" userId="847c405c-7417-4257-a34f-58113b877d74" providerId="ADAL" clId="{1173E080-8BED-4155-9D29-857F04B3702D}" dt="2022-04-12T16:56:02.267" v="648" actId="21"/>
          <ac:picMkLst>
            <pc:docMk/>
            <pc:sldMk cId="911211050" sldId="430"/>
            <ac:picMk id="4" creationId="{1728B4A4-854F-45C9-8EBC-B6CEF0CED966}"/>
          </ac:picMkLst>
        </pc:picChg>
        <pc:picChg chg="add del">
          <ac:chgData name="Daniel Hamann" userId="847c405c-7417-4257-a34f-58113b877d74" providerId="ADAL" clId="{1173E080-8BED-4155-9D29-857F04B3702D}" dt="2022-04-12T16:54:28.382" v="616" actId="478"/>
          <ac:picMkLst>
            <pc:docMk/>
            <pc:sldMk cId="911211050" sldId="430"/>
            <ac:picMk id="5" creationId="{D6C04CBF-A0D5-40C3-807A-7592D9AC61DC}"/>
          </ac:picMkLst>
        </pc:picChg>
        <pc:picChg chg="add del mod ord">
          <ac:chgData name="Daniel Hamann" userId="847c405c-7417-4257-a34f-58113b877d74" providerId="ADAL" clId="{1173E080-8BED-4155-9D29-857F04B3702D}" dt="2022-04-12T16:55:54.524" v="645" actId="478"/>
          <ac:picMkLst>
            <pc:docMk/>
            <pc:sldMk cId="911211050" sldId="430"/>
            <ac:picMk id="13" creationId="{01CE8CA3-E752-4B3E-8D12-C46F1CE08C1E}"/>
          </ac:picMkLst>
        </pc:picChg>
      </pc:sldChg>
      <pc:sldChg chg="addSp delSp modSp mod modClrScheme delAnim modAnim chgLayout">
        <pc:chgData name="Daniel Hamann" userId="847c405c-7417-4257-a34f-58113b877d74" providerId="ADAL" clId="{1173E080-8BED-4155-9D29-857F04B3702D}" dt="2022-04-13T09:14:57.294" v="3681" actId="1076"/>
        <pc:sldMkLst>
          <pc:docMk/>
          <pc:sldMk cId="92348239" sldId="431"/>
        </pc:sldMkLst>
        <pc:spChg chg="add mod ord">
          <ac:chgData name="Daniel Hamann" userId="847c405c-7417-4257-a34f-58113b877d74" providerId="ADAL" clId="{1173E080-8BED-4155-9D29-857F04B3702D}" dt="2022-04-12T17:08:32.701" v="1276" actId="700"/>
          <ac:spMkLst>
            <pc:docMk/>
            <pc:sldMk cId="92348239" sldId="431"/>
            <ac:spMk id="2" creationId="{7D2624EE-312B-491A-B5B5-4DAF904153A5}"/>
          </ac:spMkLst>
        </pc:spChg>
        <pc:spChg chg="mod ord">
          <ac:chgData name="Daniel Hamann" userId="847c405c-7417-4257-a34f-58113b877d74" providerId="ADAL" clId="{1173E080-8BED-4155-9D29-857F04B3702D}" dt="2022-04-12T17:08:32.701" v="1276" actId="700"/>
          <ac:spMkLst>
            <pc:docMk/>
            <pc:sldMk cId="92348239" sldId="431"/>
            <ac:spMk id="3" creationId="{1F4D5F3E-D201-4C7A-9407-E39025F1533B}"/>
          </ac:spMkLst>
        </pc:spChg>
        <pc:spChg chg="add del mod ord">
          <ac:chgData name="Daniel Hamann" userId="847c405c-7417-4257-a34f-58113b877d74" providerId="ADAL" clId="{1173E080-8BED-4155-9D29-857F04B3702D}" dt="2022-04-13T07:52:40.628" v="1533" actId="931"/>
          <ac:spMkLst>
            <pc:docMk/>
            <pc:sldMk cId="92348239" sldId="431"/>
            <ac:spMk id="4" creationId="{D8847D70-44AA-4990-BC31-6408F317C97E}"/>
          </ac:spMkLst>
        </pc:spChg>
        <pc:spChg chg="add mod ord">
          <ac:chgData name="Daniel Hamann" userId="847c405c-7417-4257-a34f-58113b877d74" providerId="ADAL" clId="{1173E080-8BED-4155-9D29-857F04B3702D}" dt="2022-04-12T17:08:32.701" v="1276" actId="700"/>
          <ac:spMkLst>
            <pc:docMk/>
            <pc:sldMk cId="92348239" sldId="431"/>
            <ac:spMk id="5" creationId="{5A0F852B-65A8-4E23-B4D7-541885AE377A}"/>
          </ac:spMkLst>
        </pc:spChg>
        <pc:spChg chg="mod ord">
          <ac:chgData name="Daniel Hamann" userId="847c405c-7417-4257-a34f-58113b877d74" providerId="ADAL" clId="{1173E080-8BED-4155-9D29-857F04B3702D}" dt="2022-04-12T17:08:32.701" v="1276" actId="700"/>
          <ac:spMkLst>
            <pc:docMk/>
            <pc:sldMk cId="92348239" sldId="431"/>
            <ac:spMk id="6" creationId="{AF8EAC61-3C64-4CF2-AE56-F3913C7E7E44}"/>
          </ac:spMkLst>
        </pc:spChg>
        <pc:spChg chg="del mod ord">
          <ac:chgData name="Daniel Hamann" userId="847c405c-7417-4257-a34f-58113b877d74" providerId="ADAL" clId="{1173E080-8BED-4155-9D29-857F04B3702D}" dt="2022-04-12T17:08:32.701" v="1276" actId="700"/>
          <ac:spMkLst>
            <pc:docMk/>
            <pc:sldMk cId="92348239" sldId="431"/>
            <ac:spMk id="7" creationId="{D50CC3DF-8961-49F8-90D9-F547AFEE9186}"/>
          </ac:spMkLst>
        </pc:spChg>
        <pc:spChg chg="del mod ord">
          <ac:chgData name="Daniel Hamann" userId="847c405c-7417-4257-a34f-58113b877d74" providerId="ADAL" clId="{1173E080-8BED-4155-9D29-857F04B3702D}" dt="2022-04-12T17:08:32.701" v="1276" actId="700"/>
          <ac:spMkLst>
            <pc:docMk/>
            <pc:sldMk cId="92348239" sldId="431"/>
            <ac:spMk id="8" creationId="{82386CFA-D341-49FB-A188-F1C1F6015781}"/>
          </ac:spMkLst>
        </pc:spChg>
        <pc:spChg chg="del mod ord">
          <ac:chgData name="Daniel Hamann" userId="847c405c-7417-4257-a34f-58113b877d74" providerId="ADAL" clId="{1173E080-8BED-4155-9D29-857F04B3702D}" dt="2022-04-12T17:08:32.701" v="1276" actId="700"/>
          <ac:spMkLst>
            <pc:docMk/>
            <pc:sldMk cId="92348239" sldId="431"/>
            <ac:spMk id="9" creationId="{D9614D97-67F5-405E-A1F8-19E97372C175}"/>
          </ac:spMkLst>
        </pc:spChg>
        <pc:spChg chg="del mod ord">
          <ac:chgData name="Daniel Hamann" userId="847c405c-7417-4257-a34f-58113b877d74" providerId="ADAL" clId="{1173E080-8BED-4155-9D29-857F04B3702D}" dt="2022-04-12T17:08:32.701" v="1276" actId="700"/>
          <ac:spMkLst>
            <pc:docMk/>
            <pc:sldMk cId="92348239" sldId="431"/>
            <ac:spMk id="10" creationId="{3F189A5D-5DEC-4792-AEEE-C61F5CAA8354}"/>
          </ac:spMkLst>
        </pc:spChg>
        <pc:spChg chg="add del mod ord">
          <ac:chgData name="Daniel Hamann" userId="847c405c-7417-4257-a34f-58113b877d74" providerId="ADAL" clId="{1173E080-8BED-4155-9D29-857F04B3702D}" dt="2022-04-13T07:48:58.507" v="1311" actId="478"/>
          <ac:spMkLst>
            <pc:docMk/>
            <pc:sldMk cId="92348239" sldId="431"/>
            <ac:spMk id="11" creationId="{C9105A20-B5BD-469D-A407-80F5AE01F1DF}"/>
          </ac:spMkLst>
        </pc:spChg>
        <pc:spChg chg="add mod">
          <ac:chgData name="Daniel Hamann" userId="847c405c-7417-4257-a34f-58113b877d74" providerId="ADAL" clId="{1173E080-8BED-4155-9D29-857F04B3702D}" dt="2022-04-13T08:04:28.216" v="1836"/>
          <ac:spMkLst>
            <pc:docMk/>
            <pc:sldMk cId="92348239" sldId="431"/>
            <ac:spMk id="18" creationId="{17C33E37-888C-48DF-A0F8-20C0E9065EAE}"/>
          </ac:spMkLst>
        </pc:spChg>
        <pc:spChg chg="add mod ord">
          <ac:chgData name="Daniel Hamann" userId="847c405c-7417-4257-a34f-58113b877d74" providerId="ADAL" clId="{1173E080-8BED-4155-9D29-857F04B3702D}" dt="2022-04-13T09:14:57.294" v="3681" actId="1076"/>
          <ac:spMkLst>
            <pc:docMk/>
            <pc:sldMk cId="92348239" sldId="431"/>
            <ac:spMk id="20" creationId="{C7794D61-63AC-4272-9EE6-C544F00F785F}"/>
          </ac:spMkLst>
        </pc:spChg>
        <pc:picChg chg="add mod">
          <ac:chgData name="Daniel Hamann" userId="847c405c-7417-4257-a34f-58113b877d74" providerId="ADAL" clId="{1173E080-8BED-4155-9D29-857F04B3702D}" dt="2022-04-13T07:48:45.270" v="1306"/>
          <ac:picMkLst>
            <pc:docMk/>
            <pc:sldMk cId="92348239" sldId="431"/>
            <ac:picMk id="12" creationId="{0433F1F6-8DE1-429C-B005-52D786F19E16}"/>
          </ac:picMkLst>
        </pc:picChg>
        <pc:picChg chg="add del mod">
          <ac:chgData name="Daniel Hamann" userId="847c405c-7417-4257-a34f-58113b877d74" providerId="ADAL" clId="{1173E080-8BED-4155-9D29-857F04B3702D}" dt="2022-04-13T09:02:15.766" v="3663" actId="478"/>
          <ac:picMkLst>
            <pc:docMk/>
            <pc:sldMk cId="92348239" sldId="431"/>
            <ac:picMk id="13" creationId="{0400C425-88CB-4C08-B157-634E101C4B2B}"/>
          </ac:picMkLst>
        </pc:picChg>
        <pc:picChg chg="add del mod">
          <ac:chgData name="Daniel Hamann" userId="847c405c-7417-4257-a34f-58113b877d74" providerId="ADAL" clId="{1173E080-8BED-4155-9D29-857F04B3702D}" dt="2022-04-13T08:05:58.477" v="1906" actId="478"/>
          <ac:picMkLst>
            <pc:docMk/>
            <pc:sldMk cId="92348239" sldId="431"/>
            <ac:picMk id="14" creationId="{7C9AF4EE-C81C-4008-B80D-AB4A898C2312}"/>
          </ac:picMkLst>
        </pc:picChg>
        <pc:picChg chg="add del mod ord">
          <ac:chgData name="Daniel Hamann" userId="847c405c-7417-4257-a34f-58113b877d74" providerId="ADAL" clId="{1173E080-8BED-4155-9D29-857F04B3702D}" dt="2022-04-13T07:52:51.830" v="1537" actId="21"/>
          <ac:picMkLst>
            <pc:docMk/>
            <pc:sldMk cId="92348239" sldId="431"/>
            <ac:picMk id="16" creationId="{CB52C231-9DE1-411E-A2E3-ED7FD777119D}"/>
          </ac:picMkLst>
        </pc:picChg>
        <pc:picChg chg="add mod ord">
          <ac:chgData name="Daniel Hamann" userId="847c405c-7417-4257-a34f-58113b877d74" providerId="ADAL" clId="{1173E080-8BED-4155-9D29-857F04B3702D}" dt="2022-04-13T09:14:57.294" v="3681" actId="1076"/>
          <ac:picMkLst>
            <pc:docMk/>
            <pc:sldMk cId="92348239" sldId="431"/>
            <ac:picMk id="19" creationId="{E5E90D08-76CF-4E9B-A772-DBEE9BA9FFC0}"/>
          </ac:picMkLst>
        </pc:picChg>
        <pc:picChg chg="add del mod">
          <ac:chgData name="Daniel Hamann" userId="847c405c-7417-4257-a34f-58113b877d74" providerId="ADAL" clId="{1173E080-8BED-4155-9D29-857F04B3702D}" dt="2022-04-13T09:13:29.964" v="3673" actId="478"/>
          <ac:picMkLst>
            <pc:docMk/>
            <pc:sldMk cId="92348239" sldId="431"/>
            <ac:picMk id="21" creationId="{4F563532-9E50-46B3-86AA-AA78D5F2D66C}"/>
          </ac:picMkLst>
        </pc:picChg>
        <pc:picChg chg="add mod">
          <ac:chgData name="Daniel Hamann" userId="847c405c-7417-4257-a34f-58113b877d74" providerId="ADAL" clId="{1173E080-8BED-4155-9D29-857F04B3702D}" dt="2022-04-13T09:13:48.249" v="3679" actId="1076"/>
          <ac:picMkLst>
            <pc:docMk/>
            <pc:sldMk cId="92348239" sldId="431"/>
            <ac:picMk id="22" creationId="{9A48D0E3-8A02-4DF6-9152-D3A076636EE9}"/>
          </ac:picMkLst>
        </pc:picChg>
      </pc:sldChg>
      <pc:sldChg chg="addSp delSp modSp mod modClrScheme delAnim modAnim chgLayout">
        <pc:chgData name="Daniel Hamann" userId="847c405c-7417-4257-a34f-58113b877d74" providerId="ADAL" clId="{1173E080-8BED-4155-9D29-857F04B3702D}" dt="2022-04-13T08:19:34.421" v="2182" actId="20577"/>
        <pc:sldMkLst>
          <pc:docMk/>
          <pc:sldMk cId="3352904881" sldId="432"/>
        </pc:sldMkLst>
        <pc:spChg chg="mod ord">
          <ac:chgData name="Daniel Hamann" userId="847c405c-7417-4257-a34f-58113b877d74" providerId="ADAL" clId="{1173E080-8BED-4155-9D29-857F04B3702D}" dt="2022-04-13T08:18:18.192" v="2076" actId="700"/>
          <ac:spMkLst>
            <pc:docMk/>
            <pc:sldMk cId="3352904881" sldId="432"/>
            <ac:spMk id="3" creationId="{1F4D5F3E-D201-4C7A-9407-E39025F1533B}"/>
          </ac:spMkLst>
        </pc:spChg>
        <pc:spChg chg="add del mod ord">
          <ac:chgData name="Daniel Hamann" userId="847c405c-7417-4257-a34f-58113b877d74" providerId="ADAL" clId="{1173E080-8BED-4155-9D29-857F04B3702D}" dt="2022-04-13T08:18:18.192" v="2076" actId="700"/>
          <ac:spMkLst>
            <pc:docMk/>
            <pc:sldMk cId="3352904881" sldId="432"/>
            <ac:spMk id="5" creationId="{74055DCB-0D3C-414E-970A-187825D4BD06}"/>
          </ac:spMkLst>
        </pc:spChg>
        <pc:spChg chg="mod ord">
          <ac:chgData name="Daniel Hamann" userId="847c405c-7417-4257-a34f-58113b877d74" providerId="ADAL" clId="{1173E080-8BED-4155-9D29-857F04B3702D}" dt="2022-04-13T08:18:18.192" v="2076" actId="700"/>
          <ac:spMkLst>
            <pc:docMk/>
            <pc:sldMk cId="3352904881" sldId="432"/>
            <ac:spMk id="6" creationId="{AF8EAC61-3C64-4CF2-AE56-F3913C7E7E44}"/>
          </ac:spMkLst>
        </pc:spChg>
        <pc:spChg chg="del mod ord">
          <ac:chgData name="Daniel Hamann" userId="847c405c-7417-4257-a34f-58113b877d74" providerId="ADAL" clId="{1173E080-8BED-4155-9D29-857F04B3702D}" dt="2022-04-13T08:18:18.192" v="2076" actId="700"/>
          <ac:spMkLst>
            <pc:docMk/>
            <pc:sldMk cId="3352904881" sldId="432"/>
            <ac:spMk id="7" creationId="{D50CC3DF-8961-49F8-90D9-F547AFEE9186}"/>
          </ac:spMkLst>
        </pc:spChg>
        <pc:spChg chg="del">
          <ac:chgData name="Daniel Hamann" userId="847c405c-7417-4257-a34f-58113b877d74" providerId="ADAL" clId="{1173E080-8BED-4155-9D29-857F04B3702D}" dt="2022-04-13T07:48:51.256" v="1307"/>
          <ac:spMkLst>
            <pc:docMk/>
            <pc:sldMk cId="3352904881" sldId="432"/>
            <ac:spMk id="8" creationId="{82386CFA-D341-49FB-A188-F1C1F6015781}"/>
          </ac:spMkLst>
        </pc:spChg>
        <pc:spChg chg="del mod ord">
          <ac:chgData name="Daniel Hamann" userId="847c405c-7417-4257-a34f-58113b877d74" providerId="ADAL" clId="{1173E080-8BED-4155-9D29-857F04B3702D}" dt="2022-04-13T08:18:18.192" v="2076" actId="700"/>
          <ac:spMkLst>
            <pc:docMk/>
            <pc:sldMk cId="3352904881" sldId="432"/>
            <ac:spMk id="9" creationId="{D9614D97-67F5-405E-A1F8-19E97372C175}"/>
          </ac:spMkLst>
        </pc:spChg>
        <pc:spChg chg="del mod ord">
          <ac:chgData name="Daniel Hamann" userId="847c405c-7417-4257-a34f-58113b877d74" providerId="ADAL" clId="{1173E080-8BED-4155-9D29-857F04B3702D}" dt="2022-04-13T08:18:18.192" v="2076" actId="700"/>
          <ac:spMkLst>
            <pc:docMk/>
            <pc:sldMk cId="3352904881" sldId="432"/>
            <ac:spMk id="10" creationId="{3F189A5D-5DEC-4792-AEEE-C61F5CAA8354}"/>
          </ac:spMkLst>
        </pc:spChg>
        <pc:spChg chg="add mod ord">
          <ac:chgData name="Daniel Hamann" userId="847c405c-7417-4257-a34f-58113b877d74" providerId="ADAL" clId="{1173E080-8BED-4155-9D29-857F04B3702D}" dt="2022-04-13T08:18:18.192" v="2076" actId="700"/>
          <ac:spMkLst>
            <pc:docMk/>
            <pc:sldMk cId="3352904881" sldId="432"/>
            <ac:spMk id="15" creationId="{11E0AD8F-85E6-446B-BD51-9E437A807078}"/>
          </ac:spMkLst>
        </pc:spChg>
        <pc:spChg chg="add mod ord">
          <ac:chgData name="Daniel Hamann" userId="847c405c-7417-4257-a34f-58113b877d74" providerId="ADAL" clId="{1173E080-8BED-4155-9D29-857F04B3702D}" dt="2022-04-13T08:19:34.421" v="2182" actId="20577"/>
          <ac:spMkLst>
            <pc:docMk/>
            <pc:sldMk cId="3352904881" sldId="432"/>
            <ac:spMk id="16" creationId="{786AFAA1-DAF9-4DC1-9A48-7743203B54F0}"/>
          </ac:spMkLst>
        </pc:spChg>
        <pc:spChg chg="add mod ord">
          <ac:chgData name="Daniel Hamann" userId="847c405c-7417-4257-a34f-58113b877d74" providerId="ADAL" clId="{1173E080-8BED-4155-9D29-857F04B3702D}" dt="2022-04-13T08:18:18.192" v="2076" actId="700"/>
          <ac:spMkLst>
            <pc:docMk/>
            <pc:sldMk cId="3352904881" sldId="432"/>
            <ac:spMk id="17" creationId="{5151A77E-0615-42E0-A8E6-C7456E33C18F}"/>
          </ac:spMkLst>
        </pc:spChg>
        <pc:spChg chg="add del mod ord">
          <ac:chgData name="Daniel Hamann" userId="847c405c-7417-4257-a34f-58113b877d74" providerId="ADAL" clId="{1173E080-8BED-4155-9D29-857F04B3702D}" dt="2022-04-13T08:18:39.544" v="2082" actId="478"/>
          <ac:spMkLst>
            <pc:docMk/>
            <pc:sldMk cId="3352904881" sldId="432"/>
            <ac:spMk id="18" creationId="{BC42FA48-C4FD-417B-9B8D-4ED443665700}"/>
          </ac:spMkLst>
        </pc:spChg>
        <pc:picChg chg="add del mod">
          <ac:chgData name="Daniel Hamann" userId="847c405c-7417-4257-a34f-58113b877d74" providerId="ADAL" clId="{1173E080-8BED-4155-9D29-857F04B3702D}" dt="2022-04-13T07:48:52.668" v="1308" actId="21"/>
          <ac:picMkLst>
            <pc:docMk/>
            <pc:sldMk cId="3352904881" sldId="432"/>
            <ac:picMk id="2" creationId="{04E827BB-3615-4C19-BC17-D868DB85BA86}"/>
          </ac:picMkLst>
        </pc:picChg>
        <pc:picChg chg="add del">
          <ac:chgData name="Daniel Hamann" userId="847c405c-7417-4257-a34f-58113b877d74" providerId="ADAL" clId="{1173E080-8BED-4155-9D29-857F04B3702D}" dt="2022-04-13T08:12:51.544" v="1938" actId="21"/>
          <ac:picMkLst>
            <pc:docMk/>
            <pc:sldMk cId="3352904881" sldId="432"/>
            <ac:picMk id="12" creationId="{52816A62-BA4C-44EF-9A7C-5CEBCB660128}"/>
          </ac:picMkLst>
        </pc:picChg>
        <pc:picChg chg="add del mod">
          <ac:chgData name="Daniel Hamann" userId="847c405c-7417-4257-a34f-58113b877d74" providerId="ADAL" clId="{1173E080-8BED-4155-9D29-857F04B3702D}" dt="2022-04-13T08:18:12.975" v="2075" actId="21"/>
          <ac:picMkLst>
            <pc:docMk/>
            <pc:sldMk cId="3352904881" sldId="432"/>
            <ac:picMk id="14" creationId="{455408C9-BA0B-421E-8FAF-E3590CE53B6D}"/>
          </ac:picMkLst>
        </pc:picChg>
        <pc:picChg chg="add mod modCrop">
          <ac:chgData name="Daniel Hamann" userId="847c405c-7417-4257-a34f-58113b877d74" providerId="ADAL" clId="{1173E080-8BED-4155-9D29-857F04B3702D}" dt="2022-04-13T08:18:56.773" v="2087" actId="732"/>
          <ac:picMkLst>
            <pc:docMk/>
            <pc:sldMk cId="3352904881" sldId="432"/>
            <ac:picMk id="19" creationId="{EAA87EAA-2BD1-4D08-BE51-E34012AB0960}"/>
          </ac:picMkLst>
        </pc:picChg>
      </pc:sldChg>
      <pc:sldChg chg="addSp delSp modSp mod modClrScheme chgLayout">
        <pc:chgData name="Daniel Hamann" userId="847c405c-7417-4257-a34f-58113b877d74" providerId="ADAL" clId="{1173E080-8BED-4155-9D29-857F04B3702D}" dt="2022-04-13T08:39:55.921" v="2630" actId="20577"/>
        <pc:sldMkLst>
          <pc:docMk/>
          <pc:sldMk cId="3056604384" sldId="433"/>
        </pc:sldMkLst>
        <pc:spChg chg="add mod ord">
          <ac:chgData name="Daniel Hamann" userId="847c405c-7417-4257-a34f-58113b877d74" providerId="ADAL" clId="{1173E080-8BED-4155-9D29-857F04B3702D}" dt="2022-04-13T08:12:56.609" v="1940" actId="700"/>
          <ac:spMkLst>
            <pc:docMk/>
            <pc:sldMk cId="3056604384" sldId="433"/>
            <ac:spMk id="2" creationId="{3CED2827-C425-4AB4-95AA-C3E1C7A5F3CF}"/>
          </ac:spMkLst>
        </pc:spChg>
        <pc:spChg chg="mod ord">
          <ac:chgData name="Daniel Hamann" userId="847c405c-7417-4257-a34f-58113b877d74" providerId="ADAL" clId="{1173E080-8BED-4155-9D29-857F04B3702D}" dt="2022-04-13T08:12:56.609" v="1940" actId="700"/>
          <ac:spMkLst>
            <pc:docMk/>
            <pc:sldMk cId="3056604384" sldId="433"/>
            <ac:spMk id="3" creationId="{1F4D5F3E-D201-4C7A-9407-E39025F1533B}"/>
          </ac:spMkLst>
        </pc:spChg>
        <pc:spChg chg="add mod ord">
          <ac:chgData name="Daniel Hamann" userId="847c405c-7417-4257-a34f-58113b877d74" providerId="ADAL" clId="{1173E080-8BED-4155-9D29-857F04B3702D}" dt="2022-04-13T08:39:02.865" v="2614" actId="20577"/>
          <ac:spMkLst>
            <pc:docMk/>
            <pc:sldMk cId="3056604384" sldId="433"/>
            <ac:spMk id="4" creationId="{AF59C985-5B95-4F74-BD37-B00B7B77AE54}"/>
          </ac:spMkLst>
        </pc:spChg>
        <pc:spChg chg="add mod ord">
          <ac:chgData name="Daniel Hamann" userId="847c405c-7417-4257-a34f-58113b877d74" providerId="ADAL" clId="{1173E080-8BED-4155-9D29-857F04B3702D}" dt="2022-04-13T08:12:56.609" v="1940" actId="700"/>
          <ac:spMkLst>
            <pc:docMk/>
            <pc:sldMk cId="3056604384" sldId="433"/>
            <ac:spMk id="5" creationId="{BBD0CBB6-DE83-46EA-8053-E3915423D04D}"/>
          </ac:spMkLst>
        </pc:spChg>
        <pc:spChg chg="mod ord">
          <ac:chgData name="Daniel Hamann" userId="847c405c-7417-4257-a34f-58113b877d74" providerId="ADAL" clId="{1173E080-8BED-4155-9D29-857F04B3702D}" dt="2022-04-13T08:12:56.609" v="1940" actId="700"/>
          <ac:spMkLst>
            <pc:docMk/>
            <pc:sldMk cId="3056604384" sldId="433"/>
            <ac:spMk id="6" creationId="{AF8EAC61-3C64-4CF2-AE56-F3913C7E7E44}"/>
          </ac:spMkLst>
        </pc:spChg>
        <pc:spChg chg="del mod ord">
          <ac:chgData name="Daniel Hamann" userId="847c405c-7417-4257-a34f-58113b877d74" providerId="ADAL" clId="{1173E080-8BED-4155-9D29-857F04B3702D}" dt="2022-04-13T08:12:56.609" v="1940" actId="700"/>
          <ac:spMkLst>
            <pc:docMk/>
            <pc:sldMk cId="3056604384" sldId="433"/>
            <ac:spMk id="7" creationId="{D50CC3DF-8961-49F8-90D9-F547AFEE9186}"/>
          </ac:spMkLst>
        </pc:spChg>
        <pc:spChg chg="del mod ord">
          <ac:chgData name="Daniel Hamann" userId="847c405c-7417-4257-a34f-58113b877d74" providerId="ADAL" clId="{1173E080-8BED-4155-9D29-857F04B3702D}" dt="2022-04-13T08:12:56.609" v="1940" actId="700"/>
          <ac:spMkLst>
            <pc:docMk/>
            <pc:sldMk cId="3056604384" sldId="433"/>
            <ac:spMk id="8" creationId="{82386CFA-D341-49FB-A188-F1C1F6015781}"/>
          </ac:spMkLst>
        </pc:spChg>
        <pc:spChg chg="del mod ord">
          <ac:chgData name="Daniel Hamann" userId="847c405c-7417-4257-a34f-58113b877d74" providerId="ADAL" clId="{1173E080-8BED-4155-9D29-857F04B3702D}" dt="2022-04-13T08:12:56.609" v="1940" actId="700"/>
          <ac:spMkLst>
            <pc:docMk/>
            <pc:sldMk cId="3056604384" sldId="433"/>
            <ac:spMk id="9" creationId="{D9614D97-67F5-405E-A1F8-19E97372C175}"/>
          </ac:spMkLst>
        </pc:spChg>
        <pc:spChg chg="del mod ord">
          <ac:chgData name="Daniel Hamann" userId="847c405c-7417-4257-a34f-58113b877d74" providerId="ADAL" clId="{1173E080-8BED-4155-9D29-857F04B3702D}" dt="2022-04-13T08:12:56.609" v="1940" actId="700"/>
          <ac:spMkLst>
            <pc:docMk/>
            <pc:sldMk cId="3056604384" sldId="433"/>
            <ac:spMk id="10" creationId="{3F189A5D-5DEC-4792-AEEE-C61F5CAA8354}"/>
          </ac:spMkLst>
        </pc:spChg>
        <pc:spChg chg="add del mod ord">
          <ac:chgData name="Daniel Hamann" userId="847c405c-7417-4257-a34f-58113b877d74" providerId="ADAL" clId="{1173E080-8BED-4155-9D29-857F04B3702D}" dt="2022-04-13T08:13:02.728" v="1943" actId="478"/>
          <ac:spMkLst>
            <pc:docMk/>
            <pc:sldMk cId="3056604384" sldId="433"/>
            <ac:spMk id="12" creationId="{C138CB7B-7169-4C14-868E-8C1B926776B4}"/>
          </ac:spMkLst>
        </pc:spChg>
        <pc:spChg chg="add mod">
          <ac:chgData name="Daniel Hamann" userId="847c405c-7417-4257-a34f-58113b877d74" providerId="ADAL" clId="{1173E080-8BED-4155-9D29-857F04B3702D}" dt="2022-04-13T08:29:03.325" v="2584" actId="1076"/>
          <ac:spMkLst>
            <pc:docMk/>
            <pc:sldMk cId="3056604384" sldId="433"/>
            <ac:spMk id="13" creationId="{7828E0FC-C9A0-454E-866D-195EF47C0373}"/>
          </ac:spMkLst>
        </pc:spChg>
        <pc:spChg chg="add mod">
          <ac:chgData name="Daniel Hamann" userId="847c405c-7417-4257-a34f-58113b877d74" providerId="ADAL" clId="{1173E080-8BED-4155-9D29-857F04B3702D}" dt="2022-04-13T08:39:06.793" v="2616" actId="20577"/>
          <ac:spMkLst>
            <pc:docMk/>
            <pc:sldMk cId="3056604384" sldId="433"/>
            <ac:spMk id="14" creationId="{929EC83A-1D87-463D-A9F4-53F0E6278731}"/>
          </ac:spMkLst>
        </pc:spChg>
        <pc:spChg chg="add mod">
          <ac:chgData name="Daniel Hamann" userId="847c405c-7417-4257-a34f-58113b877d74" providerId="ADAL" clId="{1173E080-8BED-4155-9D29-857F04B3702D}" dt="2022-04-13T08:27:22.589" v="2397" actId="14100"/>
          <ac:spMkLst>
            <pc:docMk/>
            <pc:sldMk cId="3056604384" sldId="433"/>
            <ac:spMk id="18" creationId="{EFCAE295-F3AC-4532-953F-571DBD24D608}"/>
          </ac:spMkLst>
        </pc:spChg>
        <pc:spChg chg="add mod">
          <ac:chgData name="Daniel Hamann" userId="847c405c-7417-4257-a34f-58113b877d74" providerId="ADAL" clId="{1173E080-8BED-4155-9D29-857F04B3702D}" dt="2022-04-13T08:39:29.202" v="2620" actId="14100"/>
          <ac:spMkLst>
            <pc:docMk/>
            <pc:sldMk cId="3056604384" sldId="433"/>
            <ac:spMk id="22" creationId="{B5123976-0EAD-4CFD-B5D3-93ACDB2D9699}"/>
          </ac:spMkLst>
        </pc:spChg>
        <pc:spChg chg="add mod">
          <ac:chgData name="Daniel Hamann" userId="847c405c-7417-4257-a34f-58113b877d74" providerId="ADAL" clId="{1173E080-8BED-4155-9D29-857F04B3702D}" dt="2022-04-13T08:39:53.400" v="2628" actId="20577"/>
          <ac:spMkLst>
            <pc:docMk/>
            <pc:sldMk cId="3056604384" sldId="433"/>
            <ac:spMk id="23" creationId="{92BB7BD7-2B44-4D93-983D-F0ADE7BD3B04}"/>
          </ac:spMkLst>
        </pc:spChg>
        <pc:spChg chg="add mod">
          <ac:chgData name="Daniel Hamann" userId="847c405c-7417-4257-a34f-58113b877d74" providerId="ADAL" clId="{1173E080-8BED-4155-9D29-857F04B3702D}" dt="2022-04-13T08:39:41.937" v="2623" actId="14100"/>
          <ac:spMkLst>
            <pc:docMk/>
            <pc:sldMk cId="3056604384" sldId="433"/>
            <ac:spMk id="24" creationId="{A47DA54A-E5D4-48FA-9EE3-CDDE622544ED}"/>
          </ac:spMkLst>
        </pc:spChg>
        <pc:spChg chg="add mod">
          <ac:chgData name="Daniel Hamann" userId="847c405c-7417-4257-a34f-58113b877d74" providerId="ADAL" clId="{1173E080-8BED-4155-9D29-857F04B3702D}" dt="2022-04-13T08:39:55.921" v="2630" actId="20577"/>
          <ac:spMkLst>
            <pc:docMk/>
            <pc:sldMk cId="3056604384" sldId="433"/>
            <ac:spMk id="25" creationId="{03920D36-57FD-4096-BB29-CA955E226767}"/>
          </ac:spMkLst>
        </pc:spChg>
        <pc:picChg chg="add del mod modCrop">
          <ac:chgData name="Daniel Hamann" userId="847c405c-7417-4257-a34f-58113b877d74" providerId="ADAL" clId="{1173E080-8BED-4155-9D29-857F04B3702D}" dt="2022-04-13T08:25:50.391" v="2384" actId="478"/>
          <ac:picMkLst>
            <pc:docMk/>
            <pc:sldMk cId="3056604384" sldId="433"/>
            <ac:picMk id="11" creationId="{376C2DA8-CE48-407C-8E93-6B386DECA04B}"/>
          </ac:picMkLst>
        </pc:picChg>
        <pc:picChg chg="add mod ord">
          <ac:chgData name="Daniel Hamann" userId="847c405c-7417-4257-a34f-58113b877d74" providerId="ADAL" clId="{1173E080-8BED-4155-9D29-857F04B3702D}" dt="2022-04-13T08:27:49.164" v="2405" actId="14861"/>
          <ac:picMkLst>
            <pc:docMk/>
            <pc:sldMk cId="3056604384" sldId="433"/>
            <ac:picMk id="16" creationId="{01A23270-A4DC-4213-97E4-306C7879D23B}"/>
          </ac:picMkLst>
        </pc:picChg>
        <pc:picChg chg="add del mod">
          <ac:chgData name="Daniel Hamann" userId="847c405c-7417-4257-a34f-58113b877d74" providerId="ADAL" clId="{1173E080-8BED-4155-9D29-857F04B3702D}" dt="2022-04-13T08:21:38.810" v="2201" actId="478"/>
          <ac:picMkLst>
            <pc:docMk/>
            <pc:sldMk cId="3056604384" sldId="433"/>
            <ac:picMk id="17" creationId="{85292420-321D-49F5-8E01-AEDE06B46C1E}"/>
          </ac:picMkLst>
        </pc:picChg>
        <pc:picChg chg="add mod">
          <ac:chgData name="Daniel Hamann" userId="847c405c-7417-4257-a34f-58113b877d74" providerId="ADAL" clId="{1173E080-8BED-4155-9D29-857F04B3702D}" dt="2022-04-13T08:27:43.232" v="2403" actId="1076"/>
          <ac:picMkLst>
            <pc:docMk/>
            <pc:sldMk cId="3056604384" sldId="433"/>
            <ac:picMk id="19" creationId="{2326ED74-546F-4A56-9A54-978A26521CDE}"/>
          </ac:picMkLst>
        </pc:picChg>
        <pc:picChg chg="add mod ord modCrop">
          <ac:chgData name="Daniel Hamann" userId="847c405c-7417-4257-a34f-58113b877d74" providerId="ADAL" clId="{1173E080-8BED-4155-9D29-857F04B3702D}" dt="2022-04-13T08:26:41.031" v="2395" actId="732"/>
          <ac:picMkLst>
            <pc:docMk/>
            <pc:sldMk cId="3056604384" sldId="433"/>
            <ac:picMk id="21" creationId="{F14D4847-9BC8-4212-9696-F2B027444D0C}"/>
          </ac:picMkLst>
        </pc:picChg>
      </pc:sldChg>
      <pc:sldChg chg="addSp delSp modSp del mod modClrScheme chgLayout">
        <pc:chgData name="Daniel Hamann" userId="847c405c-7417-4257-a34f-58113b877d74" providerId="ADAL" clId="{1173E080-8BED-4155-9D29-857F04B3702D}" dt="2022-04-12T16:51:40.996" v="413" actId="47"/>
        <pc:sldMkLst>
          <pc:docMk/>
          <pc:sldMk cId="1062719980" sldId="434"/>
        </pc:sldMkLst>
        <pc:spChg chg="mod ord">
          <ac:chgData name="Daniel Hamann" userId="847c405c-7417-4257-a34f-58113b877d74" providerId="ADAL" clId="{1173E080-8BED-4155-9D29-857F04B3702D}" dt="2022-04-12T13:55:24.754" v="1" actId="700"/>
          <ac:spMkLst>
            <pc:docMk/>
            <pc:sldMk cId="1062719980" sldId="434"/>
            <ac:spMk id="3" creationId="{1F4D5F3E-D201-4C7A-9407-E39025F1533B}"/>
          </ac:spMkLst>
        </pc:spChg>
        <pc:spChg chg="del mod ord">
          <ac:chgData name="Daniel Hamann" userId="847c405c-7417-4257-a34f-58113b877d74" providerId="ADAL" clId="{1173E080-8BED-4155-9D29-857F04B3702D}" dt="2022-04-12T13:55:24.754" v="1" actId="700"/>
          <ac:spMkLst>
            <pc:docMk/>
            <pc:sldMk cId="1062719980" sldId="434"/>
            <ac:spMk id="4" creationId="{9294021A-F930-41F7-BD5C-24C1B4D74B5C}"/>
          </ac:spMkLst>
        </pc:spChg>
        <pc:spChg chg="del mod ord">
          <ac:chgData name="Daniel Hamann" userId="847c405c-7417-4257-a34f-58113b877d74" providerId="ADAL" clId="{1173E080-8BED-4155-9D29-857F04B3702D}" dt="2022-04-12T13:55:24.754" v="1" actId="700"/>
          <ac:spMkLst>
            <pc:docMk/>
            <pc:sldMk cId="1062719980" sldId="434"/>
            <ac:spMk id="5" creationId="{DBA6B9EE-6AAF-4996-AE25-E0B3B6BEEB3F}"/>
          </ac:spMkLst>
        </pc:spChg>
        <pc:spChg chg="mod ord">
          <ac:chgData name="Daniel Hamann" userId="847c405c-7417-4257-a34f-58113b877d74" providerId="ADAL" clId="{1173E080-8BED-4155-9D29-857F04B3702D}" dt="2022-04-12T13:55:24.754" v="1" actId="700"/>
          <ac:spMkLst>
            <pc:docMk/>
            <pc:sldMk cId="1062719980" sldId="434"/>
            <ac:spMk id="6" creationId="{AF8EAC61-3C64-4CF2-AE56-F3913C7E7E44}"/>
          </ac:spMkLst>
        </pc:spChg>
        <pc:spChg chg="add mod ord">
          <ac:chgData name="Daniel Hamann" userId="847c405c-7417-4257-a34f-58113b877d74" providerId="ADAL" clId="{1173E080-8BED-4155-9D29-857F04B3702D}" dt="2022-04-12T13:55:24.754" v="1" actId="700"/>
          <ac:spMkLst>
            <pc:docMk/>
            <pc:sldMk cId="1062719980" sldId="434"/>
            <ac:spMk id="7" creationId="{479EE7EE-177C-4DC3-BA25-82749226EF59}"/>
          </ac:spMkLst>
        </pc:spChg>
        <pc:spChg chg="add mod ord">
          <ac:chgData name="Daniel Hamann" userId="847c405c-7417-4257-a34f-58113b877d74" providerId="ADAL" clId="{1173E080-8BED-4155-9D29-857F04B3702D}" dt="2022-04-12T13:55:24.754" v="1" actId="700"/>
          <ac:spMkLst>
            <pc:docMk/>
            <pc:sldMk cId="1062719980" sldId="434"/>
            <ac:spMk id="8" creationId="{DBAF5433-54A6-4456-A33A-C73EFAAB57E9}"/>
          </ac:spMkLst>
        </pc:spChg>
        <pc:spChg chg="add del mod ord">
          <ac:chgData name="Daniel Hamann" userId="847c405c-7417-4257-a34f-58113b877d74" providerId="ADAL" clId="{1173E080-8BED-4155-9D29-857F04B3702D}" dt="2022-04-12T13:55:30.646" v="3" actId="478"/>
          <ac:spMkLst>
            <pc:docMk/>
            <pc:sldMk cId="1062719980" sldId="434"/>
            <ac:spMk id="9" creationId="{31536F63-912F-47B6-86EB-0A424904B33A}"/>
          </ac:spMkLst>
        </pc:spChg>
        <pc:spChg chg="del mod ord">
          <ac:chgData name="Daniel Hamann" userId="847c405c-7417-4257-a34f-58113b877d74" providerId="ADAL" clId="{1173E080-8BED-4155-9D29-857F04B3702D}" dt="2022-04-12T13:55:24.754" v="1" actId="700"/>
          <ac:spMkLst>
            <pc:docMk/>
            <pc:sldMk cId="1062719980" sldId="434"/>
            <ac:spMk id="11" creationId="{088BF6E9-83BC-40A3-B30D-DF1B013A8AD2}"/>
          </ac:spMkLst>
        </pc:spChg>
        <pc:picChg chg="mod ord">
          <ac:chgData name="Daniel Hamann" userId="847c405c-7417-4257-a34f-58113b877d74" providerId="ADAL" clId="{1173E080-8BED-4155-9D29-857F04B3702D}" dt="2022-04-12T13:55:38.374" v="5" actId="14100"/>
          <ac:picMkLst>
            <pc:docMk/>
            <pc:sldMk cId="1062719980" sldId="434"/>
            <ac:picMk id="2" creationId="{67D6E333-437D-4975-B487-878A0A68DF3A}"/>
          </ac:picMkLst>
        </pc:picChg>
      </pc:sldChg>
      <pc:sldChg chg="addSp delSp modSp new mod ord delAnim modAnim">
        <pc:chgData name="Daniel Hamann" userId="847c405c-7417-4257-a34f-58113b877d74" providerId="ADAL" clId="{1173E080-8BED-4155-9D29-857F04B3702D}" dt="2022-04-13T08:58:32.001" v="3558" actId="2085"/>
        <pc:sldMkLst>
          <pc:docMk/>
          <pc:sldMk cId="4019473684" sldId="435"/>
        </pc:sldMkLst>
        <pc:spChg chg="mod">
          <ac:chgData name="Daniel Hamann" userId="847c405c-7417-4257-a34f-58113b877d74" providerId="ADAL" clId="{1173E080-8BED-4155-9D29-857F04B3702D}" dt="2022-04-12T16:59:10.845" v="1251" actId="20577"/>
          <ac:spMkLst>
            <pc:docMk/>
            <pc:sldMk cId="4019473684" sldId="435"/>
            <ac:spMk id="3" creationId="{41085146-20D3-4105-B278-1A0BFB4933CC}"/>
          </ac:spMkLst>
        </pc:spChg>
        <pc:spChg chg="del">
          <ac:chgData name="Daniel Hamann" userId="847c405c-7417-4257-a34f-58113b877d74" providerId="ADAL" clId="{1173E080-8BED-4155-9D29-857F04B3702D}" dt="2022-04-12T16:55:10.404" v="635" actId="478"/>
          <ac:spMkLst>
            <pc:docMk/>
            <pc:sldMk cId="4019473684" sldId="435"/>
            <ac:spMk id="4" creationId="{8716F09E-13E1-4C08-9D49-AB14067AFA81}"/>
          </ac:spMkLst>
        </pc:spChg>
        <pc:spChg chg="mod">
          <ac:chgData name="Daniel Hamann" userId="847c405c-7417-4257-a34f-58113b877d74" providerId="ADAL" clId="{1173E080-8BED-4155-9D29-857F04B3702D}" dt="2022-04-12T16:56:43.567" v="713" actId="5793"/>
          <ac:spMkLst>
            <pc:docMk/>
            <pc:sldMk cId="4019473684" sldId="435"/>
            <ac:spMk id="5" creationId="{B9F0684C-FFDF-47C7-A0E1-654184514076}"/>
          </ac:spMkLst>
        </pc:spChg>
        <pc:spChg chg="mod">
          <ac:chgData name="Daniel Hamann" userId="847c405c-7417-4257-a34f-58113b877d74" providerId="ADAL" clId="{1173E080-8BED-4155-9D29-857F04B3702D}" dt="2022-04-12T16:54:59.872" v="632" actId="20577"/>
          <ac:spMkLst>
            <pc:docMk/>
            <pc:sldMk cId="4019473684" sldId="435"/>
            <ac:spMk id="6" creationId="{07550D0F-192B-4EB9-9501-90C1DEFBF170}"/>
          </ac:spMkLst>
        </pc:spChg>
        <pc:spChg chg="add mod">
          <ac:chgData name="Daniel Hamann" userId="847c405c-7417-4257-a34f-58113b877d74" providerId="ADAL" clId="{1173E080-8BED-4155-9D29-857F04B3702D}" dt="2022-04-13T08:10:14.823" v="1932"/>
          <ac:spMkLst>
            <pc:docMk/>
            <pc:sldMk cId="4019473684" sldId="435"/>
            <ac:spMk id="22" creationId="{F15D0F4D-DFA8-40B9-A9B6-B92AC19ED178}"/>
          </ac:spMkLst>
        </pc:spChg>
        <pc:picChg chg="add del mod">
          <ac:chgData name="Daniel Hamann" userId="847c405c-7417-4257-a34f-58113b877d74" providerId="ADAL" clId="{1173E080-8BED-4155-9D29-857F04B3702D}" dt="2022-04-12T16:54:48.644" v="623" actId="478"/>
          <ac:picMkLst>
            <pc:docMk/>
            <pc:sldMk cId="4019473684" sldId="435"/>
            <ac:picMk id="8" creationId="{3D1613BA-2457-4508-BF5D-53657C938400}"/>
          </ac:picMkLst>
        </pc:picChg>
        <pc:picChg chg="add mod">
          <ac:chgData name="Daniel Hamann" userId="847c405c-7417-4257-a34f-58113b877d74" providerId="ADAL" clId="{1173E080-8BED-4155-9D29-857F04B3702D}" dt="2022-04-13T08:58:32.001" v="3558" actId="2085"/>
          <ac:picMkLst>
            <pc:docMk/>
            <pc:sldMk cId="4019473684" sldId="435"/>
            <ac:picMk id="9" creationId="{FBB9CCE4-4D71-4DDF-8581-F074A871D459}"/>
          </ac:picMkLst>
        </pc:picChg>
        <pc:picChg chg="add del mod">
          <ac:chgData name="Daniel Hamann" userId="847c405c-7417-4257-a34f-58113b877d74" providerId="ADAL" clId="{1173E080-8BED-4155-9D29-857F04B3702D}" dt="2022-04-12T16:55:37.694" v="642"/>
          <ac:picMkLst>
            <pc:docMk/>
            <pc:sldMk cId="4019473684" sldId="435"/>
            <ac:picMk id="10" creationId="{EDC1437C-5170-4F17-BB64-CA11CC38D67C}"/>
          </ac:picMkLst>
        </pc:picChg>
        <pc:picChg chg="add del mod">
          <ac:chgData name="Daniel Hamann" userId="847c405c-7417-4257-a34f-58113b877d74" providerId="ADAL" clId="{1173E080-8BED-4155-9D29-857F04B3702D}" dt="2022-04-13T07:29:42.274" v="1283" actId="478"/>
          <ac:picMkLst>
            <pc:docMk/>
            <pc:sldMk cId="4019473684" sldId="435"/>
            <ac:picMk id="11" creationId="{CA944D49-A613-47A2-AD35-7031B96D39A7}"/>
          </ac:picMkLst>
        </pc:picChg>
        <pc:picChg chg="add del mod">
          <ac:chgData name="Daniel Hamann" userId="847c405c-7417-4257-a34f-58113b877d74" providerId="ADAL" clId="{1173E080-8BED-4155-9D29-857F04B3702D}" dt="2022-04-13T07:31:42.003" v="1301" actId="478"/>
          <ac:picMkLst>
            <pc:docMk/>
            <pc:sldMk cId="4019473684" sldId="435"/>
            <ac:picMk id="13" creationId="{F31104AC-AC98-4A78-9DFD-A7250EDB90F0}"/>
          </ac:picMkLst>
        </pc:picChg>
        <pc:picChg chg="add del mod">
          <ac:chgData name="Daniel Hamann" userId="847c405c-7417-4257-a34f-58113b877d74" providerId="ADAL" clId="{1173E080-8BED-4155-9D29-857F04B3702D}" dt="2022-04-13T07:31:25.055" v="1296" actId="478"/>
          <ac:picMkLst>
            <pc:docMk/>
            <pc:sldMk cId="4019473684" sldId="435"/>
            <ac:picMk id="15" creationId="{F0F24990-5832-4A1D-B1FA-25C3F8C6F1CF}"/>
          </ac:picMkLst>
        </pc:picChg>
        <pc:picChg chg="add del mod">
          <ac:chgData name="Daniel Hamann" userId="847c405c-7417-4257-a34f-58113b877d74" providerId="ADAL" clId="{1173E080-8BED-4155-9D29-857F04B3702D}" dt="2022-04-13T07:31:42.003" v="1301" actId="478"/>
          <ac:picMkLst>
            <pc:docMk/>
            <pc:sldMk cId="4019473684" sldId="435"/>
            <ac:picMk id="17" creationId="{87E2788D-9C1C-47EF-8C13-19FB9AA055C9}"/>
          </ac:picMkLst>
        </pc:picChg>
        <pc:picChg chg="add del mod">
          <ac:chgData name="Daniel Hamann" userId="847c405c-7417-4257-a34f-58113b877d74" providerId="ADAL" clId="{1173E080-8BED-4155-9D29-857F04B3702D}" dt="2022-04-13T08:05:52.761" v="1904" actId="478"/>
          <ac:picMkLst>
            <pc:docMk/>
            <pc:sldMk cId="4019473684" sldId="435"/>
            <ac:picMk id="18" creationId="{DB3FE6E7-528F-4C39-A079-377C2BC796DF}"/>
          </ac:picMkLst>
        </pc:picChg>
        <pc:picChg chg="add del mod">
          <ac:chgData name="Daniel Hamann" userId="847c405c-7417-4257-a34f-58113b877d74" providerId="ADAL" clId="{1173E080-8BED-4155-9D29-857F04B3702D}" dt="2022-04-13T07:49:14.383" v="1315"/>
          <ac:picMkLst>
            <pc:docMk/>
            <pc:sldMk cId="4019473684" sldId="435"/>
            <ac:picMk id="19" creationId="{AAA6B5F6-BD5D-4DB7-B971-05655D02E557}"/>
          </ac:picMkLst>
        </pc:picChg>
        <pc:picChg chg="add del mod">
          <ac:chgData name="Daniel Hamann" userId="847c405c-7417-4257-a34f-58113b877d74" providerId="ADAL" clId="{1173E080-8BED-4155-9D29-857F04B3702D}" dt="2022-04-13T08:10:14.298" v="1931" actId="478"/>
          <ac:picMkLst>
            <pc:docMk/>
            <pc:sldMk cId="4019473684" sldId="435"/>
            <ac:picMk id="20" creationId="{D104EF9E-DDC7-4050-8F28-40FFBFD90A16}"/>
          </ac:picMkLst>
        </pc:picChg>
        <pc:picChg chg="add mod">
          <ac:chgData name="Daniel Hamann" userId="847c405c-7417-4257-a34f-58113b877d74" providerId="ADAL" clId="{1173E080-8BED-4155-9D29-857F04B3702D}" dt="2022-04-13T08:10:14.823" v="1932"/>
          <ac:picMkLst>
            <pc:docMk/>
            <pc:sldMk cId="4019473684" sldId="435"/>
            <ac:picMk id="21" creationId="{C0548DAB-8CBF-43E4-A0E8-229A732E4BEC}"/>
          </ac:picMkLst>
        </pc:picChg>
      </pc:sldChg>
      <pc:sldChg chg="addSp delSp modSp new mod">
        <pc:chgData name="Daniel Hamann" userId="847c405c-7417-4257-a34f-58113b877d74" providerId="ADAL" clId="{1173E080-8BED-4155-9D29-857F04B3702D}" dt="2022-04-13T08:57:41.012" v="3553" actId="1076"/>
        <pc:sldMkLst>
          <pc:docMk/>
          <pc:sldMk cId="4078766610" sldId="436"/>
        </pc:sldMkLst>
        <pc:spChg chg="mod">
          <ac:chgData name="Daniel Hamann" userId="847c405c-7417-4257-a34f-58113b877d74" providerId="ADAL" clId="{1173E080-8BED-4155-9D29-857F04B3702D}" dt="2022-04-13T08:52:37.805" v="3468" actId="313"/>
          <ac:spMkLst>
            <pc:docMk/>
            <pc:sldMk cId="4078766610" sldId="436"/>
            <ac:spMk id="3" creationId="{BFFE3C7F-00AD-4B12-817C-7ED189EB1610}"/>
          </ac:spMkLst>
        </pc:spChg>
        <pc:spChg chg="mod">
          <ac:chgData name="Daniel Hamann" userId="847c405c-7417-4257-a34f-58113b877d74" providerId="ADAL" clId="{1173E080-8BED-4155-9D29-857F04B3702D}" dt="2022-04-12T16:33:33.428" v="65"/>
          <ac:spMkLst>
            <pc:docMk/>
            <pc:sldMk cId="4078766610" sldId="436"/>
            <ac:spMk id="6" creationId="{1E334096-65A7-4D92-9B19-7347807EDDD9}"/>
          </ac:spMkLst>
        </pc:spChg>
        <pc:spChg chg="add mod">
          <ac:chgData name="Daniel Hamann" userId="847c405c-7417-4257-a34f-58113b877d74" providerId="ADAL" clId="{1173E080-8BED-4155-9D29-857F04B3702D}" dt="2022-04-12T16:33:27.411" v="64"/>
          <ac:spMkLst>
            <pc:docMk/>
            <pc:sldMk cId="4078766610" sldId="436"/>
            <ac:spMk id="10" creationId="{EB43F172-32C2-4D0F-B3BB-CDA52CF47EB8}"/>
          </ac:spMkLst>
        </pc:spChg>
        <pc:spChg chg="add mod">
          <ac:chgData name="Daniel Hamann" userId="847c405c-7417-4257-a34f-58113b877d74" providerId="ADAL" clId="{1173E080-8BED-4155-9D29-857F04B3702D}" dt="2022-04-12T16:47:58.550" v="370" actId="1038"/>
          <ac:spMkLst>
            <pc:docMk/>
            <pc:sldMk cId="4078766610" sldId="436"/>
            <ac:spMk id="11" creationId="{D0227A9D-FCE7-4251-BBE4-E2715AD9D3D1}"/>
          </ac:spMkLst>
        </pc:spChg>
        <pc:spChg chg="add mod">
          <ac:chgData name="Daniel Hamann" userId="847c405c-7417-4257-a34f-58113b877d74" providerId="ADAL" clId="{1173E080-8BED-4155-9D29-857F04B3702D}" dt="2022-04-12T16:48:19.934" v="375" actId="14100"/>
          <ac:spMkLst>
            <pc:docMk/>
            <pc:sldMk cId="4078766610" sldId="436"/>
            <ac:spMk id="12" creationId="{7ACEFEF3-07E2-4012-836E-F593B13D8DB0}"/>
          </ac:spMkLst>
        </pc:spChg>
        <pc:spChg chg="add mod">
          <ac:chgData name="Daniel Hamann" userId="847c405c-7417-4257-a34f-58113b877d74" providerId="ADAL" clId="{1173E080-8BED-4155-9D29-857F04B3702D}" dt="2022-04-13T08:57:20.875" v="3549" actId="1076"/>
          <ac:spMkLst>
            <pc:docMk/>
            <pc:sldMk cId="4078766610" sldId="436"/>
            <ac:spMk id="13" creationId="{064BB6B3-42C7-4808-AE2C-1278D7B5D0A3}"/>
          </ac:spMkLst>
        </pc:spChg>
        <pc:spChg chg="add mod">
          <ac:chgData name="Daniel Hamann" userId="847c405c-7417-4257-a34f-58113b877d74" providerId="ADAL" clId="{1173E080-8BED-4155-9D29-857F04B3702D}" dt="2022-04-13T08:57:41.012" v="3553" actId="1076"/>
          <ac:spMkLst>
            <pc:docMk/>
            <pc:sldMk cId="4078766610" sldId="436"/>
            <ac:spMk id="14" creationId="{D513602A-6062-463D-94A0-9E7E55F26117}"/>
          </ac:spMkLst>
        </pc:spChg>
        <pc:spChg chg="add mod">
          <ac:chgData name="Daniel Hamann" userId="847c405c-7417-4257-a34f-58113b877d74" providerId="ADAL" clId="{1173E080-8BED-4155-9D29-857F04B3702D}" dt="2022-04-13T08:57:30.419" v="3551" actId="1076"/>
          <ac:spMkLst>
            <pc:docMk/>
            <pc:sldMk cId="4078766610" sldId="436"/>
            <ac:spMk id="15" creationId="{A527174F-E032-4D03-AE23-613B8EF816DE}"/>
          </ac:spMkLst>
        </pc:spChg>
        <pc:picChg chg="add mod">
          <ac:chgData name="Daniel Hamann" userId="847c405c-7417-4257-a34f-58113b877d74" providerId="ADAL" clId="{1173E080-8BED-4155-9D29-857F04B3702D}" dt="2022-04-12T16:33:38.981" v="67" actId="1076"/>
          <ac:picMkLst>
            <pc:docMk/>
            <pc:sldMk cId="4078766610" sldId="436"/>
            <ac:picMk id="8" creationId="{4E994418-7328-4F97-B120-FEA8910A7D2F}"/>
          </ac:picMkLst>
        </pc:picChg>
        <pc:picChg chg="add mod">
          <ac:chgData name="Daniel Hamann" userId="847c405c-7417-4257-a34f-58113b877d74" providerId="ADAL" clId="{1173E080-8BED-4155-9D29-857F04B3702D}" dt="2022-04-12T16:49:37.480" v="387" actId="1076"/>
          <ac:picMkLst>
            <pc:docMk/>
            <pc:sldMk cId="4078766610" sldId="436"/>
            <ac:picMk id="9" creationId="{48733DAE-2677-4BD3-8018-8828B38C3025}"/>
          </ac:picMkLst>
        </pc:picChg>
        <pc:picChg chg="add del mod">
          <ac:chgData name="Daniel Hamann" userId="847c405c-7417-4257-a34f-58113b877d74" providerId="ADAL" clId="{1173E080-8BED-4155-9D29-857F04B3702D}" dt="2022-04-12T17:07:55.928" v="1273" actId="478"/>
          <ac:picMkLst>
            <pc:docMk/>
            <pc:sldMk cId="4078766610" sldId="436"/>
            <ac:picMk id="16" creationId="{121661B6-CF87-456C-BD6E-761A5C3A1DF1}"/>
          </ac:picMkLst>
        </pc:picChg>
      </pc:sldChg>
      <pc:sldChg chg="addSp delSp modSp add mod modAnim">
        <pc:chgData name="Daniel Hamann" userId="847c405c-7417-4257-a34f-58113b877d74" providerId="ADAL" clId="{1173E080-8BED-4155-9D29-857F04B3702D}" dt="2022-04-13T08:58:26.483" v="3557" actId="1035"/>
        <pc:sldMkLst>
          <pc:docMk/>
          <pc:sldMk cId="4183544056" sldId="437"/>
        </pc:sldMkLst>
        <pc:spChg chg="mod">
          <ac:chgData name="Daniel Hamann" userId="847c405c-7417-4257-a34f-58113b877d74" providerId="ADAL" clId="{1173E080-8BED-4155-9D29-857F04B3702D}" dt="2022-04-12T16:59:25.972" v="1256" actId="20577"/>
          <ac:spMkLst>
            <pc:docMk/>
            <pc:sldMk cId="4183544056" sldId="437"/>
            <ac:spMk id="3" creationId="{41085146-20D3-4105-B278-1A0BFB4933CC}"/>
          </ac:spMkLst>
        </pc:spChg>
        <pc:spChg chg="del">
          <ac:chgData name="Daniel Hamann" userId="847c405c-7417-4257-a34f-58113b877d74" providerId="ADAL" clId="{1173E080-8BED-4155-9D29-857F04B3702D}" dt="2022-04-12T16:59:55.479" v="1258" actId="478"/>
          <ac:spMkLst>
            <pc:docMk/>
            <pc:sldMk cId="4183544056" sldId="437"/>
            <ac:spMk id="4" creationId="{8716F09E-13E1-4C08-9D49-AB14067AFA81}"/>
          </ac:spMkLst>
        </pc:spChg>
        <pc:spChg chg="add mod">
          <ac:chgData name="Daniel Hamann" userId="847c405c-7417-4257-a34f-58113b877d74" providerId="ADAL" clId="{1173E080-8BED-4155-9D29-857F04B3702D}" dt="2022-04-13T08:10:18.698" v="1934"/>
          <ac:spMkLst>
            <pc:docMk/>
            <pc:sldMk cId="4183544056" sldId="437"/>
            <ac:spMk id="12" creationId="{7F5CC2D9-B904-485B-8A21-CA954FB8BE79}"/>
          </ac:spMkLst>
        </pc:spChg>
        <pc:picChg chg="mod">
          <ac:chgData name="Daniel Hamann" userId="847c405c-7417-4257-a34f-58113b877d74" providerId="ADAL" clId="{1173E080-8BED-4155-9D29-857F04B3702D}" dt="2022-04-13T08:58:26.483" v="3557" actId="1035"/>
          <ac:picMkLst>
            <pc:docMk/>
            <pc:sldMk cId="4183544056" sldId="437"/>
            <ac:picMk id="8" creationId="{3D1613BA-2457-4508-BF5D-53657C938400}"/>
          </ac:picMkLst>
        </pc:picChg>
        <pc:picChg chg="add del mod">
          <ac:chgData name="Daniel Hamann" userId="847c405c-7417-4257-a34f-58113b877d74" providerId="ADAL" clId="{1173E080-8BED-4155-9D29-857F04B3702D}" dt="2022-04-13T08:05:38.458" v="1900" actId="478"/>
          <ac:picMkLst>
            <pc:docMk/>
            <pc:sldMk cId="4183544056" sldId="437"/>
            <ac:picMk id="9" creationId="{3822A464-B617-4A22-BEAE-CBA4F0AAD43A}"/>
          </ac:picMkLst>
        </pc:picChg>
        <pc:picChg chg="add del mod">
          <ac:chgData name="Daniel Hamann" userId="847c405c-7417-4257-a34f-58113b877d74" providerId="ADAL" clId="{1173E080-8BED-4155-9D29-857F04B3702D}" dt="2022-04-13T08:10:17.948" v="1933" actId="478"/>
          <ac:picMkLst>
            <pc:docMk/>
            <pc:sldMk cId="4183544056" sldId="437"/>
            <ac:picMk id="10" creationId="{F72AAAAA-E19B-4C6C-8A2B-528A05AE47E5}"/>
          </ac:picMkLst>
        </pc:picChg>
        <pc:picChg chg="add mod">
          <ac:chgData name="Daniel Hamann" userId="847c405c-7417-4257-a34f-58113b877d74" providerId="ADAL" clId="{1173E080-8BED-4155-9D29-857F04B3702D}" dt="2022-04-13T08:10:18.698" v="1934"/>
          <ac:picMkLst>
            <pc:docMk/>
            <pc:sldMk cId="4183544056" sldId="437"/>
            <ac:picMk id="11" creationId="{3B13E47C-4B0F-4B14-8813-AD1CDFA3A7B8}"/>
          </ac:picMkLst>
        </pc:picChg>
      </pc:sldChg>
      <pc:sldChg chg="addSp delSp modSp add mod ord delAnim chgLayout">
        <pc:chgData name="Daniel Hamann" userId="847c405c-7417-4257-a34f-58113b877d74" providerId="ADAL" clId="{1173E080-8BED-4155-9D29-857F04B3702D}" dt="2022-04-13T09:16:46.429" v="3684" actId="6549"/>
        <pc:sldMkLst>
          <pc:docMk/>
          <pc:sldMk cId="4097106166" sldId="438"/>
        </pc:sldMkLst>
        <pc:spChg chg="mod ord">
          <ac:chgData name="Daniel Hamann" userId="847c405c-7417-4257-a34f-58113b877d74" providerId="ADAL" clId="{1173E080-8BED-4155-9D29-857F04B3702D}" dt="2022-04-12T16:56:12.449" v="654" actId="700"/>
          <ac:spMkLst>
            <pc:docMk/>
            <pc:sldMk cId="4097106166" sldId="438"/>
            <ac:spMk id="2" creationId="{D50546D6-4775-4BA8-AEA7-5C58A595D9B4}"/>
          </ac:spMkLst>
        </pc:spChg>
        <pc:spChg chg="mod ord">
          <ac:chgData name="Daniel Hamann" userId="847c405c-7417-4257-a34f-58113b877d74" providerId="ADAL" clId="{1173E080-8BED-4155-9D29-857F04B3702D}" dt="2022-04-13T09:16:46.429" v="3684" actId="6549"/>
          <ac:spMkLst>
            <pc:docMk/>
            <pc:sldMk cId="4097106166" sldId="438"/>
            <ac:spMk id="3" creationId="{41085146-20D3-4105-B278-1A0BFB4933CC}"/>
          </ac:spMkLst>
        </pc:spChg>
        <pc:spChg chg="add mod ord">
          <ac:chgData name="Daniel Hamann" userId="847c405c-7417-4257-a34f-58113b877d74" providerId="ADAL" clId="{1173E080-8BED-4155-9D29-857F04B3702D}" dt="2022-04-12T16:56:36.531" v="689" actId="20577"/>
          <ac:spMkLst>
            <pc:docMk/>
            <pc:sldMk cId="4097106166" sldId="438"/>
            <ac:spMk id="4" creationId="{B5922A4A-39A7-4419-AA18-882BCFF20C6F}"/>
          </ac:spMkLst>
        </pc:spChg>
        <pc:spChg chg="del">
          <ac:chgData name="Daniel Hamann" userId="847c405c-7417-4257-a34f-58113b877d74" providerId="ADAL" clId="{1173E080-8BED-4155-9D29-857F04B3702D}" dt="2022-04-12T16:56:12.449" v="654" actId="700"/>
          <ac:spMkLst>
            <pc:docMk/>
            <pc:sldMk cId="4097106166" sldId="438"/>
            <ac:spMk id="5" creationId="{B9F0684C-FFDF-47C7-A0E1-654184514076}"/>
          </ac:spMkLst>
        </pc:spChg>
        <pc:spChg chg="mod ord">
          <ac:chgData name="Daniel Hamann" userId="847c405c-7417-4257-a34f-58113b877d74" providerId="ADAL" clId="{1173E080-8BED-4155-9D29-857F04B3702D}" dt="2022-04-12T16:56:12.449" v="654" actId="700"/>
          <ac:spMkLst>
            <pc:docMk/>
            <pc:sldMk cId="4097106166" sldId="438"/>
            <ac:spMk id="6" creationId="{07550D0F-192B-4EB9-9501-90C1DEFBF170}"/>
          </ac:spMkLst>
        </pc:spChg>
        <pc:spChg chg="del">
          <ac:chgData name="Daniel Hamann" userId="847c405c-7417-4257-a34f-58113b877d74" providerId="ADAL" clId="{1173E080-8BED-4155-9D29-857F04B3702D}" dt="2022-04-12T16:56:12.449" v="654" actId="700"/>
          <ac:spMkLst>
            <pc:docMk/>
            <pc:sldMk cId="4097106166" sldId="438"/>
            <ac:spMk id="7" creationId="{9AA12C82-1CB2-4349-8F3E-103691F17D55}"/>
          </ac:spMkLst>
        </pc:spChg>
        <pc:spChg chg="add mod ord">
          <ac:chgData name="Daniel Hamann" userId="847c405c-7417-4257-a34f-58113b877d74" providerId="ADAL" clId="{1173E080-8BED-4155-9D29-857F04B3702D}" dt="2022-04-12T16:56:12.449" v="654" actId="700"/>
          <ac:spMkLst>
            <pc:docMk/>
            <pc:sldMk cId="4097106166" sldId="438"/>
            <ac:spMk id="10" creationId="{937D117A-2641-4B03-BC08-6F7ABEC2F112}"/>
          </ac:spMkLst>
        </pc:spChg>
        <pc:spChg chg="add del mod ord">
          <ac:chgData name="Daniel Hamann" userId="847c405c-7417-4257-a34f-58113b877d74" providerId="ADAL" clId="{1173E080-8BED-4155-9D29-857F04B3702D}" dt="2022-04-12T16:56:27.648" v="661" actId="478"/>
          <ac:spMkLst>
            <pc:docMk/>
            <pc:sldMk cId="4097106166" sldId="438"/>
            <ac:spMk id="11" creationId="{9BFA8776-BC83-431A-BBC5-9936805BDC45}"/>
          </ac:spMkLst>
        </pc:spChg>
        <pc:spChg chg="add mod">
          <ac:chgData name="Daniel Hamann" userId="847c405c-7417-4257-a34f-58113b877d74" providerId="ADAL" clId="{1173E080-8BED-4155-9D29-857F04B3702D}" dt="2022-04-13T08:56:59.129" v="3547" actId="14100"/>
          <ac:spMkLst>
            <pc:docMk/>
            <pc:sldMk cId="4097106166" sldId="438"/>
            <ac:spMk id="12" creationId="{1B6470BC-4FF3-490E-B5D4-05B84E5DE5FE}"/>
          </ac:spMkLst>
        </pc:spChg>
        <pc:spChg chg="add mod">
          <ac:chgData name="Daniel Hamann" userId="847c405c-7417-4257-a34f-58113b877d74" providerId="ADAL" clId="{1173E080-8BED-4155-9D29-857F04B3702D}" dt="2022-04-13T08:57:50.065" v="3554" actId="1076"/>
          <ac:spMkLst>
            <pc:docMk/>
            <pc:sldMk cId="4097106166" sldId="438"/>
            <ac:spMk id="13" creationId="{BCD5DAB7-14F7-4D0F-BAD7-035CD5B392AF}"/>
          </ac:spMkLst>
        </pc:spChg>
        <pc:spChg chg="add mod">
          <ac:chgData name="Daniel Hamann" userId="847c405c-7417-4257-a34f-58113b877d74" providerId="ADAL" clId="{1173E080-8BED-4155-9D29-857F04B3702D}" dt="2022-04-13T08:56:35.503" v="3544" actId="14100"/>
          <ac:spMkLst>
            <pc:docMk/>
            <pc:sldMk cId="4097106166" sldId="438"/>
            <ac:spMk id="14" creationId="{E3350E42-44DE-4622-B5F3-6507132D9226}"/>
          </ac:spMkLst>
        </pc:spChg>
        <pc:spChg chg="add mod">
          <ac:chgData name="Daniel Hamann" userId="847c405c-7417-4257-a34f-58113b877d74" providerId="ADAL" clId="{1173E080-8BED-4155-9D29-857F04B3702D}" dt="2022-04-13T08:56:42.340" v="3545" actId="1076"/>
          <ac:spMkLst>
            <pc:docMk/>
            <pc:sldMk cId="4097106166" sldId="438"/>
            <ac:spMk id="15" creationId="{24F1A60E-ADCD-4C34-B0C9-B64E8C56892D}"/>
          </ac:spMkLst>
        </pc:spChg>
        <pc:spChg chg="add mod">
          <ac:chgData name="Daniel Hamann" userId="847c405c-7417-4257-a34f-58113b877d74" providerId="ADAL" clId="{1173E080-8BED-4155-9D29-857F04B3702D}" dt="2022-04-13T08:55:39.649" v="3534" actId="1076"/>
          <ac:spMkLst>
            <pc:docMk/>
            <pc:sldMk cId="4097106166" sldId="438"/>
            <ac:spMk id="21" creationId="{7B3BAFDA-3872-46E7-9C78-10851F11DA9A}"/>
          </ac:spMkLst>
        </pc:spChg>
        <pc:spChg chg="add mod">
          <ac:chgData name="Daniel Hamann" userId="847c405c-7417-4257-a34f-58113b877d74" providerId="ADAL" clId="{1173E080-8BED-4155-9D29-857F04B3702D}" dt="2022-04-13T08:55:50.019" v="3539" actId="1076"/>
          <ac:spMkLst>
            <pc:docMk/>
            <pc:sldMk cId="4097106166" sldId="438"/>
            <ac:spMk id="22" creationId="{D35A8288-B9D6-411D-BB49-3EE2223A15CE}"/>
          </ac:spMkLst>
        </pc:spChg>
        <pc:spChg chg="add mod">
          <ac:chgData name="Daniel Hamann" userId="847c405c-7417-4257-a34f-58113b877d74" providerId="ADAL" clId="{1173E080-8BED-4155-9D29-857F04B3702D}" dt="2022-04-13T08:55:54.393" v="3540" actId="571"/>
          <ac:spMkLst>
            <pc:docMk/>
            <pc:sldMk cId="4097106166" sldId="438"/>
            <ac:spMk id="23" creationId="{B16BA737-0C5F-45E6-9A95-F5CB04559612}"/>
          </ac:spMkLst>
        </pc:spChg>
        <pc:spChg chg="add mod">
          <ac:chgData name="Daniel Hamann" userId="847c405c-7417-4257-a34f-58113b877d74" providerId="ADAL" clId="{1173E080-8BED-4155-9D29-857F04B3702D}" dt="2022-04-13T08:55:57.820" v="3541" actId="571"/>
          <ac:spMkLst>
            <pc:docMk/>
            <pc:sldMk cId="4097106166" sldId="438"/>
            <ac:spMk id="24" creationId="{9F7658EB-E5DE-4883-9F7B-F12756F6E942}"/>
          </ac:spMkLst>
        </pc:spChg>
        <pc:picChg chg="add mod">
          <ac:chgData name="Daniel Hamann" userId="847c405c-7417-4257-a34f-58113b877d74" providerId="ADAL" clId="{1173E080-8BED-4155-9D29-857F04B3702D}" dt="2022-04-13T08:55:43.052" v="3537" actId="1076"/>
          <ac:picMkLst>
            <pc:docMk/>
            <pc:sldMk cId="4097106166" sldId="438"/>
            <ac:picMk id="8" creationId="{F1D67463-7177-46F2-A71F-0F0F99DE3EE7}"/>
          </ac:picMkLst>
        </pc:picChg>
        <pc:picChg chg="del">
          <ac:chgData name="Daniel Hamann" userId="847c405c-7417-4257-a34f-58113b877d74" providerId="ADAL" clId="{1173E080-8BED-4155-9D29-857F04B3702D}" dt="2022-04-12T16:55:58.623" v="647" actId="478"/>
          <ac:picMkLst>
            <pc:docMk/>
            <pc:sldMk cId="4097106166" sldId="438"/>
            <ac:picMk id="9" creationId="{FBB9CCE4-4D71-4DDF-8581-F074A871D459}"/>
          </ac:picMkLst>
        </pc:picChg>
        <pc:cxnChg chg="add mod">
          <ac:chgData name="Daniel Hamann" userId="847c405c-7417-4257-a34f-58113b877d74" providerId="ADAL" clId="{1173E080-8BED-4155-9D29-857F04B3702D}" dt="2022-04-13T08:53:30" v="3472" actId="693"/>
          <ac:cxnSpMkLst>
            <pc:docMk/>
            <pc:sldMk cId="4097106166" sldId="438"/>
            <ac:cxnSpMk id="17" creationId="{AC99751C-E03D-4875-BAD8-3BD75F536C50}"/>
          </ac:cxnSpMkLst>
        </pc:cxnChg>
        <pc:cxnChg chg="add mod">
          <ac:chgData name="Daniel Hamann" userId="847c405c-7417-4257-a34f-58113b877d74" providerId="ADAL" clId="{1173E080-8BED-4155-9D29-857F04B3702D}" dt="2022-04-13T08:53:35.771" v="3474" actId="1076"/>
          <ac:cxnSpMkLst>
            <pc:docMk/>
            <pc:sldMk cId="4097106166" sldId="438"/>
            <ac:cxnSpMk id="18" creationId="{6EBAE07B-454F-4CEA-A69C-26C2CCF5D92B}"/>
          </ac:cxnSpMkLst>
        </pc:cxnChg>
        <pc:cxnChg chg="add mod">
          <ac:chgData name="Daniel Hamann" userId="847c405c-7417-4257-a34f-58113b877d74" providerId="ADAL" clId="{1173E080-8BED-4155-9D29-857F04B3702D}" dt="2022-04-13T08:53:39.952" v="3476" actId="1076"/>
          <ac:cxnSpMkLst>
            <pc:docMk/>
            <pc:sldMk cId="4097106166" sldId="438"/>
            <ac:cxnSpMk id="19" creationId="{56A31113-4D42-4E9D-8B54-29E59FBD9C70}"/>
          </ac:cxnSpMkLst>
        </pc:cxnChg>
        <pc:cxnChg chg="add mod">
          <ac:chgData name="Daniel Hamann" userId="847c405c-7417-4257-a34f-58113b877d74" providerId="ADAL" clId="{1173E080-8BED-4155-9D29-857F04B3702D}" dt="2022-04-13T08:53:57.085" v="3478" actId="1076"/>
          <ac:cxnSpMkLst>
            <pc:docMk/>
            <pc:sldMk cId="4097106166" sldId="438"/>
            <ac:cxnSpMk id="20" creationId="{FA211A5A-737D-47B7-A38E-DC9655633E80}"/>
          </ac:cxnSpMkLst>
        </pc:cxnChg>
      </pc:sldChg>
      <pc:sldChg chg="addSp delSp modSp add mod ord delAnim">
        <pc:chgData name="Daniel Hamann" userId="847c405c-7417-4257-a34f-58113b877d74" providerId="ADAL" clId="{1173E080-8BED-4155-9D29-857F04B3702D}" dt="2022-04-13T09:01:27.853" v="3659" actId="20577"/>
        <pc:sldMkLst>
          <pc:docMk/>
          <pc:sldMk cId="2993571560" sldId="439"/>
        </pc:sldMkLst>
        <pc:spChg chg="mod">
          <ac:chgData name="Daniel Hamann" userId="847c405c-7417-4257-a34f-58113b877d74" providerId="ADAL" clId="{1173E080-8BED-4155-9D29-857F04B3702D}" dt="2022-04-13T09:01:15.476" v="3651" actId="11"/>
          <ac:spMkLst>
            <pc:docMk/>
            <pc:sldMk cId="2993571560" sldId="439"/>
            <ac:spMk id="4" creationId="{D8847D70-44AA-4990-BC31-6408F317C97E}"/>
          </ac:spMkLst>
        </pc:spChg>
        <pc:spChg chg="add mod">
          <ac:chgData name="Daniel Hamann" userId="847c405c-7417-4257-a34f-58113b877d74" providerId="ADAL" clId="{1173E080-8BED-4155-9D29-857F04B3702D}" dt="2022-04-13T08:03:24.602" v="1775" actId="164"/>
          <ac:spMkLst>
            <pc:docMk/>
            <pc:sldMk cId="2993571560" sldId="439"/>
            <ac:spMk id="9" creationId="{205DB991-887E-4F93-B321-2AAFA8794EBE}"/>
          </ac:spMkLst>
        </pc:spChg>
        <pc:spChg chg="add del mod">
          <ac:chgData name="Daniel Hamann" userId="847c405c-7417-4257-a34f-58113b877d74" providerId="ADAL" clId="{1173E080-8BED-4155-9D29-857F04B3702D}" dt="2022-04-13T07:55:18.378" v="1555" actId="478"/>
          <ac:spMkLst>
            <pc:docMk/>
            <pc:sldMk cId="2993571560" sldId="439"/>
            <ac:spMk id="15" creationId="{3D36219A-9CE8-4C69-9369-D9E5C11DC860}"/>
          </ac:spMkLst>
        </pc:spChg>
        <pc:spChg chg="add del mod">
          <ac:chgData name="Daniel Hamann" userId="847c405c-7417-4257-a34f-58113b877d74" providerId="ADAL" clId="{1173E080-8BED-4155-9D29-857F04B3702D}" dt="2022-04-13T07:57:16.648" v="1566" actId="478"/>
          <ac:spMkLst>
            <pc:docMk/>
            <pc:sldMk cId="2993571560" sldId="439"/>
            <ac:spMk id="16" creationId="{FCD28192-980A-4435-8FDB-A4EE549BA12C}"/>
          </ac:spMkLst>
        </pc:spChg>
        <pc:spChg chg="add mod">
          <ac:chgData name="Daniel Hamann" userId="847c405c-7417-4257-a34f-58113b877d74" providerId="ADAL" clId="{1173E080-8BED-4155-9D29-857F04B3702D}" dt="2022-04-13T08:03:24.602" v="1775" actId="164"/>
          <ac:spMkLst>
            <pc:docMk/>
            <pc:sldMk cId="2993571560" sldId="439"/>
            <ac:spMk id="17" creationId="{7B52AF1E-9AA3-4B73-BC22-D6B145B997F3}"/>
          </ac:spMkLst>
        </pc:spChg>
        <pc:spChg chg="add mod">
          <ac:chgData name="Daniel Hamann" userId="847c405c-7417-4257-a34f-58113b877d74" providerId="ADAL" clId="{1173E080-8BED-4155-9D29-857F04B3702D}" dt="2022-04-13T07:58:50.558" v="1585" actId="14100"/>
          <ac:spMkLst>
            <pc:docMk/>
            <pc:sldMk cId="2993571560" sldId="439"/>
            <ac:spMk id="19" creationId="{DC63A760-2B70-4243-AE56-E39C1FE3D88F}"/>
          </ac:spMkLst>
        </pc:spChg>
        <pc:spChg chg="add mod">
          <ac:chgData name="Daniel Hamann" userId="847c405c-7417-4257-a34f-58113b877d74" providerId="ADAL" clId="{1173E080-8BED-4155-9D29-857F04B3702D}" dt="2022-04-13T08:03:01.362" v="1774" actId="1076"/>
          <ac:spMkLst>
            <pc:docMk/>
            <pc:sldMk cId="2993571560" sldId="439"/>
            <ac:spMk id="20" creationId="{9B4446A1-9D05-4CCF-93BA-4293D4150C97}"/>
          </ac:spMkLst>
        </pc:spChg>
        <pc:spChg chg="add mod">
          <ac:chgData name="Daniel Hamann" userId="847c405c-7417-4257-a34f-58113b877d74" providerId="ADAL" clId="{1173E080-8BED-4155-9D29-857F04B3702D}" dt="2022-04-13T07:59:58.569" v="1628" actId="14100"/>
          <ac:spMkLst>
            <pc:docMk/>
            <pc:sldMk cId="2993571560" sldId="439"/>
            <ac:spMk id="21" creationId="{5ECFA1C1-851E-490D-9594-9246BFAD0713}"/>
          </ac:spMkLst>
        </pc:spChg>
        <pc:spChg chg="add mod">
          <ac:chgData name="Daniel Hamann" userId="847c405c-7417-4257-a34f-58113b877d74" providerId="ADAL" clId="{1173E080-8BED-4155-9D29-857F04B3702D}" dt="2022-04-13T08:00:02.378" v="1629" actId="14100"/>
          <ac:spMkLst>
            <pc:docMk/>
            <pc:sldMk cId="2993571560" sldId="439"/>
            <ac:spMk id="22" creationId="{663EB220-3F98-49ED-90A7-667AFADE12F3}"/>
          </ac:spMkLst>
        </pc:spChg>
        <pc:spChg chg="add mod">
          <ac:chgData name="Daniel Hamann" userId="847c405c-7417-4257-a34f-58113b877d74" providerId="ADAL" clId="{1173E080-8BED-4155-9D29-857F04B3702D}" dt="2022-04-13T07:59:42.789" v="1602" actId="14100"/>
          <ac:spMkLst>
            <pc:docMk/>
            <pc:sldMk cId="2993571560" sldId="439"/>
            <ac:spMk id="23" creationId="{0CAB968B-9C95-4E26-8F16-B5570F001EC4}"/>
          </ac:spMkLst>
        </pc:spChg>
        <pc:spChg chg="add mod">
          <ac:chgData name="Daniel Hamann" userId="847c405c-7417-4257-a34f-58113b877d74" providerId="ADAL" clId="{1173E080-8BED-4155-9D29-857F04B3702D}" dt="2022-04-13T09:01:18.409" v="3653" actId="20577"/>
          <ac:spMkLst>
            <pc:docMk/>
            <pc:sldMk cId="2993571560" sldId="439"/>
            <ac:spMk id="24" creationId="{FDD5BC5D-F16D-4354-AC60-B3EAB096EE4C}"/>
          </ac:spMkLst>
        </pc:spChg>
        <pc:spChg chg="add mod">
          <ac:chgData name="Daniel Hamann" userId="847c405c-7417-4257-a34f-58113b877d74" providerId="ADAL" clId="{1173E080-8BED-4155-9D29-857F04B3702D}" dt="2022-04-13T09:01:25.058" v="3657" actId="20577"/>
          <ac:spMkLst>
            <pc:docMk/>
            <pc:sldMk cId="2993571560" sldId="439"/>
            <ac:spMk id="25" creationId="{FE03F208-878A-4CDC-AE08-70B4ABF9E597}"/>
          </ac:spMkLst>
        </pc:spChg>
        <pc:spChg chg="add mod">
          <ac:chgData name="Daniel Hamann" userId="847c405c-7417-4257-a34f-58113b877d74" providerId="ADAL" clId="{1173E080-8BED-4155-9D29-857F04B3702D}" dt="2022-04-13T09:01:21.763" v="3655" actId="20577"/>
          <ac:spMkLst>
            <pc:docMk/>
            <pc:sldMk cId="2993571560" sldId="439"/>
            <ac:spMk id="26" creationId="{C35EC40F-7FA7-4D73-BCB8-9F91FD0EC0CA}"/>
          </ac:spMkLst>
        </pc:spChg>
        <pc:spChg chg="add mod">
          <ac:chgData name="Daniel Hamann" userId="847c405c-7417-4257-a34f-58113b877d74" providerId="ADAL" clId="{1173E080-8BED-4155-9D29-857F04B3702D}" dt="2022-04-13T08:01:36.499" v="1649" actId="14100"/>
          <ac:spMkLst>
            <pc:docMk/>
            <pc:sldMk cId="2993571560" sldId="439"/>
            <ac:spMk id="27" creationId="{888DEE9C-81B7-4469-8D09-0E4855455F13}"/>
          </ac:spMkLst>
        </pc:spChg>
        <pc:spChg chg="add del mod">
          <ac:chgData name="Daniel Hamann" userId="847c405c-7417-4257-a34f-58113b877d74" providerId="ADAL" clId="{1173E080-8BED-4155-9D29-857F04B3702D}" dt="2022-04-13T08:01:41.368" v="1651"/>
          <ac:spMkLst>
            <pc:docMk/>
            <pc:sldMk cId="2993571560" sldId="439"/>
            <ac:spMk id="28" creationId="{CBC4BA70-51BE-4736-B7EF-6F7A161C6C16}"/>
          </ac:spMkLst>
        </pc:spChg>
        <pc:spChg chg="add mod">
          <ac:chgData name="Daniel Hamann" userId="847c405c-7417-4257-a34f-58113b877d74" providerId="ADAL" clId="{1173E080-8BED-4155-9D29-857F04B3702D}" dt="2022-04-13T09:01:27.853" v="3659" actId="20577"/>
          <ac:spMkLst>
            <pc:docMk/>
            <pc:sldMk cId="2993571560" sldId="439"/>
            <ac:spMk id="29" creationId="{3BA083F0-908D-40AD-AE96-5807D1E1296F}"/>
          </ac:spMkLst>
        </pc:spChg>
        <pc:grpChg chg="add mod">
          <ac:chgData name="Daniel Hamann" userId="847c405c-7417-4257-a34f-58113b877d74" providerId="ADAL" clId="{1173E080-8BED-4155-9D29-857F04B3702D}" dt="2022-04-13T08:03:30.467" v="1776" actId="1076"/>
          <ac:grpSpMkLst>
            <pc:docMk/>
            <pc:sldMk cId="2993571560" sldId="439"/>
            <ac:grpSpMk id="10" creationId="{8116DA52-809C-41F0-99C6-F9A996087888}"/>
          </ac:grpSpMkLst>
        </pc:grpChg>
        <pc:picChg chg="add mod modCrop">
          <ac:chgData name="Daniel Hamann" userId="847c405c-7417-4257-a34f-58113b877d74" providerId="ADAL" clId="{1173E080-8BED-4155-9D29-857F04B3702D}" dt="2022-04-13T07:59:30.796" v="1598" actId="1076"/>
          <ac:picMkLst>
            <pc:docMk/>
            <pc:sldMk cId="2993571560" sldId="439"/>
            <ac:picMk id="8" creationId="{D6E5F567-6207-49EC-9E4F-DCDB78BDC025}"/>
          </ac:picMkLst>
        </pc:picChg>
        <pc:picChg chg="add mod">
          <ac:chgData name="Daniel Hamann" userId="847c405c-7417-4257-a34f-58113b877d74" providerId="ADAL" clId="{1173E080-8BED-4155-9D29-857F04B3702D}" dt="2022-04-13T08:03:24.602" v="1775" actId="164"/>
          <ac:picMkLst>
            <pc:docMk/>
            <pc:sldMk cId="2993571560" sldId="439"/>
            <ac:picMk id="11" creationId="{6DF953EE-81A6-40D3-A7FA-3A7FD1C3F084}"/>
          </ac:picMkLst>
        </pc:picChg>
        <pc:picChg chg="add del mod">
          <ac:chgData name="Daniel Hamann" userId="847c405c-7417-4257-a34f-58113b877d74" providerId="ADAL" clId="{1173E080-8BED-4155-9D29-857F04B3702D}" dt="2022-04-13T07:54:42.954" v="1546" actId="478"/>
          <ac:picMkLst>
            <pc:docMk/>
            <pc:sldMk cId="2993571560" sldId="439"/>
            <ac:picMk id="12" creationId="{9D2203A0-953F-45A4-ACC7-84A8BE66562C}"/>
          </ac:picMkLst>
        </pc:picChg>
        <pc:picChg chg="del">
          <ac:chgData name="Daniel Hamann" userId="847c405c-7417-4257-a34f-58113b877d74" providerId="ADAL" clId="{1173E080-8BED-4155-9D29-857F04B3702D}" dt="2022-04-13T07:49:19.670" v="1317" actId="478"/>
          <ac:picMkLst>
            <pc:docMk/>
            <pc:sldMk cId="2993571560" sldId="439"/>
            <ac:picMk id="13" creationId="{0400C425-88CB-4C08-B157-634E101C4B2B}"/>
          </ac:picMkLst>
        </pc:picChg>
        <pc:picChg chg="del">
          <ac:chgData name="Daniel Hamann" userId="847c405c-7417-4257-a34f-58113b877d74" providerId="ADAL" clId="{1173E080-8BED-4155-9D29-857F04B3702D}" dt="2022-04-13T07:50:09.548" v="1326" actId="478"/>
          <ac:picMkLst>
            <pc:docMk/>
            <pc:sldMk cId="2993571560" sldId="439"/>
            <ac:picMk id="14" creationId="{7C9AF4EE-C81C-4008-B80D-AB4A898C2312}"/>
          </ac:picMkLst>
        </pc:picChg>
        <pc:picChg chg="add del mod">
          <ac:chgData name="Daniel Hamann" userId="847c405c-7417-4257-a34f-58113b877d74" providerId="ADAL" clId="{1173E080-8BED-4155-9D29-857F04B3702D}" dt="2022-04-13T08:07:33.429" v="1909" actId="478"/>
          <ac:picMkLst>
            <pc:docMk/>
            <pc:sldMk cId="2993571560" sldId="439"/>
            <ac:picMk id="18" creationId="{93BBA630-5D11-497E-A7D3-B7534CB2831B}"/>
          </ac:picMkLst>
        </pc:picChg>
      </pc:sldChg>
    </pc:docChg>
  </pc:docChgLst>
  <pc:docChgLst>
    <pc:chgData name="Claas Dibke" userId="ddcbaaf6-1c3b-47d3-adc9-2339165010e6" providerId="ADAL" clId="{09C448A6-06D1-43B9-93C3-21DA400932BD}"/>
    <pc:docChg chg="custSel modSld modMainMaster replTag">
      <pc:chgData name="Claas Dibke" userId="ddcbaaf6-1c3b-47d3-adc9-2339165010e6" providerId="ADAL" clId="{09C448A6-06D1-43B9-93C3-21DA400932BD}" dt="2022-02-18T12:11:47.070" v="158" actId="15"/>
      <pc:docMkLst>
        <pc:docMk/>
      </pc:docMkLst>
      <pc:sldChg chg="addSp delSp modSp mod">
        <pc:chgData name="Claas Dibke" userId="ddcbaaf6-1c3b-47d3-adc9-2339165010e6" providerId="ADAL" clId="{09C448A6-06D1-43B9-93C3-21DA400932BD}" dt="2022-02-18T12:09:34.031" v="157"/>
        <pc:sldMkLst>
          <pc:docMk/>
          <pc:sldMk cId="947004393" sldId="336"/>
        </pc:sldMkLst>
        <pc:spChg chg="add del mod modVis">
          <ac:chgData name="Claas Dibke" userId="ddcbaaf6-1c3b-47d3-adc9-2339165010e6" providerId="ADAL" clId="{09C448A6-06D1-43B9-93C3-21DA400932BD}" dt="2022-02-18T12:09:32.590" v="79"/>
          <ac:spMkLst>
            <pc:docMk/>
            <pc:sldMk cId="947004393" sldId="336"/>
            <ac:spMk id="2" creationId="{FE9A6511-B981-4B5F-9456-0D310FF542B7}"/>
          </ac:spMkLst>
        </pc:spChg>
        <pc:spChg chg="add del mod modVis">
          <ac:chgData name="Claas Dibke" userId="ddcbaaf6-1c3b-47d3-adc9-2339165010e6" providerId="ADAL" clId="{09C448A6-06D1-43B9-93C3-21DA400932BD}" dt="2022-02-18T12:09:34.029" v="155"/>
          <ac:spMkLst>
            <pc:docMk/>
            <pc:sldMk cId="947004393" sldId="336"/>
            <ac:spMk id="4" creationId="{9DB27942-CC68-4303-B840-658256C13165}"/>
          </ac:spMkLst>
        </pc:spChg>
        <pc:spChg chg="mod">
          <ac:chgData name="Claas Dibke" userId="ddcbaaf6-1c3b-47d3-adc9-2339165010e6" providerId="ADAL" clId="{09C448A6-06D1-43B9-93C3-21DA400932BD}" dt="2022-02-18T12:09:33.982" v="115" actId="948"/>
          <ac:spMkLst>
            <pc:docMk/>
            <pc:sldMk cId="947004393" sldId="336"/>
            <ac:spMk id="14" creationId="{B07F6F48-85B6-4FFA-9856-27CF4F35ACE8}"/>
          </ac:spMkLst>
        </pc:spChg>
        <pc:graphicFrameChg chg="add mod ord modVis replST">
          <ac:chgData name="Claas Dibke" userId="ddcbaaf6-1c3b-47d3-adc9-2339165010e6" providerId="ADAL" clId="{09C448A6-06D1-43B9-93C3-21DA400932BD}" dt="2022-02-18T12:09:34.031" v="157"/>
          <ac:graphicFrameMkLst>
            <pc:docMk/>
            <pc:sldMk cId="947004393" sldId="336"/>
            <ac:graphicFrameMk id="3" creationId="{8BFE861F-BC5A-4E6C-B1CC-485130A4C153}"/>
          </ac:graphicFrameMkLst>
        </pc:graphicFrameChg>
      </pc:sldChg>
      <pc:sldChg chg="modSp mod">
        <pc:chgData name="Claas Dibke" userId="ddcbaaf6-1c3b-47d3-adc9-2339165010e6" providerId="ADAL" clId="{09C448A6-06D1-43B9-93C3-21DA400932BD}" dt="2022-02-18T12:11:47.070" v="158" actId="15"/>
        <pc:sldMkLst>
          <pc:docMk/>
          <pc:sldMk cId="2497184076" sldId="378"/>
        </pc:sldMkLst>
        <pc:spChg chg="mod">
          <ac:chgData name="Claas Dibke" userId="ddcbaaf6-1c3b-47d3-adc9-2339165010e6" providerId="ADAL" clId="{09C448A6-06D1-43B9-93C3-21DA400932BD}" dt="2022-02-18T12:11:47.070" v="158" actId="15"/>
          <ac:spMkLst>
            <pc:docMk/>
            <pc:sldMk cId="2497184076" sldId="378"/>
            <ac:spMk id="10" creationId="{7A141C31-F668-415A-B4AA-1AD8755ED907}"/>
          </ac:spMkLst>
        </pc:spChg>
      </pc:sldChg>
      <pc:sldMasterChg chg="addSp delSp modSp mod">
        <pc:chgData name="Claas Dibke" userId="ddcbaaf6-1c3b-47d3-adc9-2339165010e6" providerId="ADAL" clId="{09C448A6-06D1-43B9-93C3-21DA400932BD}" dt="2022-02-18T12:09:32.728" v="113"/>
        <pc:sldMasterMkLst>
          <pc:docMk/>
          <pc:sldMasterMk cId="4171192528" sldId="2147483648"/>
        </pc:sldMasterMkLst>
        <pc:spChg chg="mod">
          <ac:chgData name="Claas Dibke" userId="ddcbaaf6-1c3b-47d3-adc9-2339165010e6" providerId="ADAL" clId="{09C448A6-06D1-43B9-93C3-21DA400932BD}" dt="2022-02-18T12:09:32.531" v="39" actId="948"/>
          <ac:spMkLst>
            <pc:docMk/>
            <pc:sldMasterMk cId="4171192528" sldId="2147483648"/>
            <ac:spMk id="2" creationId="{06838A31-5826-430D-8C02-F9E9B58F7A8C}"/>
          </ac:spMkLst>
        </pc:spChg>
        <pc:spChg chg="add del mod modVis">
          <ac:chgData name="Claas Dibke" userId="ddcbaaf6-1c3b-47d3-adc9-2339165010e6" providerId="ADAL" clId="{09C448A6-06D1-43B9-93C3-21DA400932BD}" dt="2022-02-18T12:09:32.704" v="97"/>
          <ac:spMkLst>
            <pc:docMk/>
            <pc:sldMasterMk cId="4171192528" sldId="2147483648"/>
            <ac:spMk id="4" creationId="{C081FAF1-B161-4177-9B44-EC7DC522A04B}"/>
          </ac:spMkLst>
        </pc:spChg>
        <pc:graphicFrameChg chg="add mod ord modVis replST">
          <ac:chgData name="Claas Dibke" userId="ddcbaaf6-1c3b-47d3-adc9-2339165010e6" providerId="ADAL" clId="{09C448A6-06D1-43B9-93C3-21DA400932BD}" dt="2022-02-18T12:09:32.728" v="113"/>
          <ac:graphicFrameMkLst>
            <pc:docMk/>
            <pc:sldMasterMk cId="4171192528" sldId="2147483648"/>
            <ac:graphicFrameMk id="5" creationId="{CDFF45E0-A3BD-43AA-8C26-2ACC16E53449}"/>
          </ac:graphicFrameMkLst>
        </pc:graphicFrameChg>
      </pc:sldMasterChg>
    </pc:docChg>
  </pc:docChgLst>
  <pc:docChgLst>
    <pc:chgData name="Daniel Hens" userId="d245be30-eed3-4780-b032-3be0c65e8ee8" providerId="ADAL" clId="{C5175244-04CA-44B5-B06E-253F5367FE2D}"/>
    <pc:docChg chg="undo custSel addSld delSld modSld addSection delSection modSection">
      <pc:chgData name="Daniel Hens" userId="d245be30-eed3-4780-b032-3be0c65e8ee8" providerId="ADAL" clId="{C5175244-04CA-44B5-B06E-253F5367FE2D}" dt="2022-03-25T12:57:41.137" v="11"/>
      <pc:docMkLst>
        <pc:docMk/>
      </pc:docMkLst>
      <pc:sldChg chg="modSp add del mod">
        <pc:chgData name="Daniel Hens" userId="d245be30-eed3-4780-b032-3be0c65e8ee8" providerId="ADAL" clId="{C5175244-04CA-44B5-B06E-253F5367FE2D}" dt="2022-03-25T12:57:41.137" v="11"/>
        <pc:sldMkLst>
          <pc:docMk/>
          <pc:sldMk cId="947004393" sldId="336"/>
        </pc:sldMkLst>
        <pc:graphicFrameChg chg="mod">
          <ac:chgData name="Daniel Hens" userId="d245be30-eed3-4780-b032-3be0c65e8ee8" providerId="ADAL" clId="{C5175244-04CA-44B5-B06E-253F5367FE2D}" dt="2022-03-25T12:57:41.137" v="11"/>
          <ac:graphicFrameMkLst>
            <pc:docMk/>
            <pc:sldMk cId="947004393" sldId="336"/>
            <ac:graphicFrameMk id="3" creationId="{8BFE861F-BC5A-4E6C-B1CC-485130A4C153}"/>
          </ac:graphicFrameMkLst>
        </pc:graphicFrameChg>
      </pc:sldChg>
      <pc:sldChg chg="add del">
        <pc:chgData name="Daniel Hens" userId="d245be30-eed3-4780-b032-3be0c65e8ee8" providerId="ADAL" clId="{C5175244-04CA-44B5-B06E-253F5367FE2D}" dt="2022-03-25T12:57:41.106" v="9" actId="47"/>
        <pc:sldMkLst>
          <pc:docMk/>
          <pc:sldMk cId="4155269180" sldId="337"/>
        </pc:sldMkLst>
      </pc:sldChg>
      <pc:sldChg chg="add del">
        <pc:chgData name="Daniel Hens" userId="d245be30-eed3-4780-b032-3be0c65e8ee8" providerId="ADAL" clId="{C5175244-04CA-44B5-B06E-253F5367FE2D}" dt="2022-03-25T12:57:41.106" v="9" actId="47"/>
        <pc:sldMkLst>
          <pc:docMk/>
          <pc:sldMk cId="3419691827" sldId="338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3038720959" sldId="339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254456047" sldId="340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1370879864" sldId="341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684844852" sldId="343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31543976" sldId="344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1835701110" sldId="345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1524813662" sldId="346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336045514" sldId="347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3315295276" sldId="348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745662442" sldId="349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3354830306" sldId="350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1466448892" sldId="351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2704760124" sldId="352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2191268248" sldId="353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2037418230" sldId="354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302905050" sldId="355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2187347484" sldId="356"/>
        </pc:sldMkLst>
      </pc:sldChg>
      <pc:sldChg chg="add del">
        <pc:chgData name="Daniel Hens" userId="d245be30-eed3-4780-b032-3be0c65e8ee8" providerId="ADAL" clId="{C5175244-04CA-44B5-B06E-253F5367FE2D}" dt="2022-03-25T12:57:41.106" v="9" actId="47"/>
        <pc:sldMkLst>
          <pc:docMk/>
          <pc:sldMk cId="1630686082" sldId="359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4197691444" sldId="360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206669884" sldId="361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1326743884" sldId="362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19210300" sldId="363"/>
        </pc:sldMkLst>
      </pc:sldChg>
      <pc:sldChg chg="addSp delSp modSp mod">
        <pc:chgData name="Daniel Hens" userId="d245be30-eed3-4780-b032-3be0c65e8ee8" providerId="ADAL" clId="{C5175244-04CA-44B5-B06E-253F5367FE2D}" dt="2022-03-25T12:57:40.363" v="6" actId="478"/>
        <pc:sldMkLst>
          <pc:docMk/>
          <pc:sldMk cId="33598816" sldId="364"/>
        </pc:sldMkLst>
        <pc:spChg chg="add del mod">
          <ac:chgData name="Daniel Hens" userId="d245be30-eed3-4780-b032-3be0c65e8ee8" providerId="ADAL" clId="{C5175244-04CA-44B5-B06E-253F5367FE2D}" dt="2022-03-25T12:57:40.363" v="6" actId="478"/>
          <ac:spMkLst>
            <pc:docMk/>
            <pc:sldMk cId="33598816" sldId="364"/>
            <ac:spMk id="5" creationId="{80DE910B-62B7-4C55-9E1C-99FC4912B38C}"/>
          </ac:spMkLst>
        </pc:spChg>
        <pc:spChg chg="add del">
          <ac:chgData name="Daniel Hens" userId="d245be30-eed3-4780-b032-3be0c65e8ee8" providerId="ADAL" clId="{C5175244-04CA-44B5-B06E-253F5367FE2D}" dt="2022-03-25T12:57:40.363" v="6" actId="478"/>
          <ac:spMkLst>
            <pc:docMk/>
            <pc:sldMk cId="33598816" sldId="364"/>
            <ac:spMk id="10" creationId="{560D351C-B0BC-4A96-A22E-DB4BEB931C3E}"/>
          </ac:spMkLst>
        </pc:spChg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1592159595" sldId="365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3940856595" sldId="366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1014320215" sldId="367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874914692" sldId="368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2223883424" sldId="369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2086820258" sldId="372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1758373318" sldId="373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3392096116" sldId="374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3615068782" sldId="375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3852887038" sldId="376"/>
        </pc:sldMkLst>
      </pc:sldChg>
      <pc:sldChg chg="add del">
        <pc:chgData name="Daniel Hens" userId="d245be30-eed3-4780-b032-3be0c65e8ee8" providerId="ADAL" clId="{C5175244-04CA-44B5-B06E-253F5367FE2D}" dt="2022-03-25T12:57:41.106" v="9" actId="47"/>
        <pc:sldMkLst>
          <pc:docMk/>
          <pc:sldMk cId="2497184076" sldId="378"/>
        </pc:sldMkLst>
      </pc:sldChg>
      <pc:sldChg chg="add del">
        <pc:chgData name="Daniel Hens" userId="d245be30-eed3-4780-b032-3be0c65e8ee8" providerId="ADAL" clId="{C5175244-04CA-44B5-B06E-253F5367FE2D}" dt="2022-03-25T12:57:41.106" v="9" actId="47"/>
        <pc:sldMkLst>
          <pc:docMk/>
          <pc:sldMk cId="941330492" sldId="379"/>
        </pc:sldMkLst>
      </pc:sldChg>
      <pc:sldChg chg="add del">
        <pc:chgData name="Daniel Hens" userId="d245be30-eed3-4780-b032-3be0c65e8ee8" providerId="ADAL" clId="{C5175244-04CA-44B5-B06E-253F5367FE2D}" dt="2022-03-25T12:57:41.106" v="9" actId="47"/>
        <pc:sldMkLst>
          <pc:docMk/>
          <pc:sldMk cId="216177301" sldId="380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2169851743" sldId="382"/>
        </pc:sldMkLst>
      </pc:sldChg>
      <pc:sldChg chg="add del">
        <pc:chgData name="Daniel Hens" userId="d245be30-eed3-4780-b032-3be0c65e8ee8" providerId="ADAL" clId="{C5175244-04CA-44B5-B06E-253F5367FE2D}" dt="2022-03-25T12:57:41.106" v="9" actId="47"/>
        <pc:sldMkLst>
          <pc:docMk/>
          <pc:sldMk cId="1045533942" sldId="384"/>
        </pc:sldMkLst>
      </pc:sldChg>
      <pc:sldChg chg="add del">
        <pc:chgData name="Daniel Hens" userId="d245be30-eed3-4780-b032-3be0c65e8ee8" providerId="ADAL" clId="{C5175244-04CA-44B5-B06E-253F5367FE2D}" dt="2022-03-25T12:57:41.106" v="9" actId="47"/>
        <pc:sldMkLst>
          <pc:docMk/>
          <pc:sldMk cId="1769863677" sldId="385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904502109" sldId="386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1181553170" sldId="387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2311678989" sldId="388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1686671835" sldId="389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590577401" sldId="391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2824741347" sldId="422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737801744" sldId="424"/>
        </pc:sldMkLst>
      </pc:sldChg>
    </pc:docChg>
  </pc:docChgLst>
</pc:chgInfo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C892B93-AFBB-476D-B9C2-77789C615A3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9C7441-E9C1-4BB5-B78E-255365725D2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437222-9D39-4E54-B21C-C7D845DDACF8}" type="datetimeFigureOut">
              <a:rPr lang="de-DE" smtClean="0"/>
              <a:t>11.06.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CA7648F-5867-4553-94E5-C795E073C8C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B144397-9448-4129-A006-24D512AA19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A64263-1DEB-40BC-AFDD-B419E9331C7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00362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660404-EB44-46E0-A99C-B3FB510EE02D}" type="datetimeFigureOut">
              <a:rPr lang="de-DE" smtClean="0"/>
              <a:t>11.06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8FE370-A48C-4559-8DC8-9B0AF4A2C52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14008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8FE370-A48C-4559-8DC8-9B0AF4A2C52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715936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Titel_zweizeilig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346EF30F-5F5D-428E-A5D2-04069DB8765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334001" y="1"/>
            <a:ext cx="6858001" cy="6857999"/>
          </a:xfrm>
          <a:custGeom>
            <a:avLst/>
            <a:gdLst>
              <a:gd name="connsiteX0" fmla="*/ 4589999 w 6858001"/>
              <a:gd name="connsiteY0" fmla="*/ 4590000 h 6857999"/>
              <a:gd name="connsiteX1" fmla="*/ 6858001 w 6858001"/>
              <a:gd name="connsiteY1" fmla="*/ 4590000 h 6857999"/>
              <a:gd name="connsiteX2" fmla="*/ 6858001 w 6858001"/>
              <a:gd name="connsiteY2" fmla="*/ 6857999 h 6857999"/>
              <a:gd name="connsiteX3" fmla="*/ 4589999 w 6858001"/>
              <a:gd name="connsiteY3" fmla="*/ 6857999 h 6857999"/>
              <a:gd name="connsiteX4" fmla="*/ 2303999 w 6858001"/>
              <a:gd name="connsiteY4" fmla="*/ 4590000 h 6857999"/>
              <a:gd name="connsiteX5" fmla="*/ 4553999 w 6858001"/>
              <a:gd name="connsiteY5" fmla="*/ 4590000 h 6857999"/>
              <a:gd name="connsiteX6" fmla="*/ 4553999 w 6858001"/>
              <a:gd name="connsiteY6" fmla="*/ 6857999 h 6857999"/>
              <a:gd name="connsiteX7" fmla="*/ 2303999 w 6858001"/>
              <a:gd name="connsiteY7" fmla="*/ 6857999 h 6857999"/>
              <a:gd name="connsiteX8" fmla="*/ 4589999 w 6858001"/>
              <a:gd name="connsiteY8" fmla="*/ 2303999 h 6857999"/>
              <a:gd name="connsiteX9" fmla="*/ 6858001 w 6858001"/>
              <a:gd name="connsiteY9" fmla="*/ 2303999 h 6857999"/>
              <a:gd name="connsiteX10" fmla="*/ 6858001 w 6858001"/>
              <a:gd name="connsiteY10" fmla="*/ 4554000 h 6857999"/>
              <a:gd name="connsiteX11" fmla="*/ 4589999 w 6858001"/>
              <a:gd name="connsiteY11" fmla="*/ 4554000 h 6857999"/>
              <a:gd name="connsiteX12" fmla="*/ 2303999 w 6858001"/>
              <a:gd name="connsiteY12" fmla="*/ 2303999 h 6857999"/>
              <a:gd name="connsiteX13" fmla="*/ 4553999 w 6858001"/>
              <a:gd name="connsiteY13" fmla="*/ 2303999 h 6857999"/>
              <a:gd name="connsiteX14" fmla="*/ 4553999 w 6858001"/>
              <a:gd name="connsiteY14" fmla="*/ 4554000 h 6857999"/>
              <a:gd name="connsiteX15" fmla="*/ 2303999 w 6858001"/>
              <a:gd name="connsiteY15" fmla="*/ 4554000 h 6857999"/>
              <a:gd name="connsiteX16" fmla="*/ 0 w 6858001"/>
              <a:gd name="connsiteY16" fmla="*/ 2303999 h 6857999"/>
              <a:gd name="connsiteX17" fmla="*/ 2267999 w 6858001"/>
              <a:gd name="connsiteY17" fmla="*/ 2303999 h 6857999"/>
              <a:gd name="connsiteX18" fmla="*/ 2267999 w 6858001"/>
              <a:gd name="connsiteY18" fmla="*/ 4554000 h 6857999"/>
              <a:gd name="connsiteX19" fmla="*/ 0 w 6858001"/>
              <a:gd name="connsiteY19" fmla="*/ 4554000 h 6857999"/>
              <a:gd name="connsiteX20" fmla="*/ 2303999 w 6858001"/>
              <a:gd name="connsiteY20" fmla="*/ 0 h 6857999"/>
              <a:gd name="connsiteX21" fmla="*/ 4553999 w 6858001"/>
              <a:gd name="connsiteY21" fmla="*/ 0 h 6857999"/>
              <a:gd name="connsiteX22" fmla="*/ 4553999 w 6858001"/>
              <a:gd name="connsiteY22" fmla="*/ 2267999 h 6857999"/>
              <a:gd name="connsiteX23" fmla="*/ 2303999 w 6858001"/>
              <a:gd name="connsiteY23" fmla="*/ 226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858001" h="6857999">
                <a:moveTo>
                  <a:pt x="4589999" y="4590000"/>
                </a:moveTo>
                <a:lnTo>
                  <a:pt x="6858001" y="4590000"/>
                </a:lnTo>
                <a:lnTo>
                  <a:pt x="6858001" y="6857999"/>
                </a:lnTo>
                <a:lnTo>
                  <a:pt x="4589999" y="6857999"/>
                </a:lnTo>
                <a:close/>
                <a:moveTo>
                  <a:pt x="2303999" y="4590000"/>
                </a:moveTo>
                <a:lnTo>
                  <a:pt x="4553999" y="4590000"/>
                </a:lnTo>
                <a:lnTo>
                  <a:pt x="4553999" y="6857999"/>
                </a:lnTo>
                <a:lnTo>
                  <a:pt x="2303999" y="6857999"/>
                </a:lnTo>
                <a:close/>
                <a:moveTo>
                  <a:pt x="4589999" y="2303999"/>
                </a:moveTo>
                <a:lnTo>
                  <a:pt x="6858001" y="2303999"/>
                </a:lnTo>
                <a:lnTo>
                  <a:pt x="6858001" y="4554000"/>
                </a:lnTo>
                <a:lnTo>
                  <a:pt x="4589999" y="4554000"/>
                </a:lnTo>
                <a:close/>
                <a:moveTo>
                  <a:pt x="2303999" y="2303999"/>
                </a:moveTo>
                <a:lnTo>
                  <a:pt x="4553999" y="2303999"/>
                </a:lnTo>
                <a:lnTo>
                  <a:pt x="4553999" y="4554000"/>
                </a:lnTo>
                <a:lnTo>
                  <a:pt x="2303999" y="4554000"/>
                </a:lnTo>
                <a:close/>
                <a:moveTo>
                  <a:pt x="0" y="2303999"/>
                </a:moveTo>
                <a:lnTo>
                  <a:pt x="2267999" y="2303999"/>
                </a:lnTo>
                <a:lnTo>
                  <a:pt x="2267999" y="4554000"/>
                </a:lnTo>
                <a:lnTo>
                  <a:pt x="0" y="4554000"/>
                </a:lnTo>
                <a:close/>
                <a:moveTo>
                  <a:pt x="2303999" y="0"/>
                </a:moveTo>
                <a:lnTo>
                  <a:pt x="4553999" y="0"/>
                </a:lnTo>
                <a:lnTo>
                  <a:pt x="4553999" y="2267999"/>
                </a:lnTo>
                <a:lnTo>
                  <a:pt x="2303999" y="226799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14A9E4E2-CA0F-4870-B2E7-7C70679F486C}"/>
              </a:ext>
            </a:extLst>
          </p:cNvPr>
          <p:cNvCxnSpPr>
            <a:cxnSpLocks/>
          </p:cNvCxnSpPr>
          <p:nvPr userDrawn="1"/>
        </p:nvCxnSpPr>
        <p:spPr>
          <a:xfrm flipV="1">
            <a:off x="550863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B4399AFD-BBE0-480A-9ED7-3E2F2ABEA895}"/>
              </a:ext>
            </a:extLst>
          </p:cNvPr>
          <p:cNvSpPr txBox="1"/>
          <p:nvPr userDrawn="1"/>
        </p:nvSpPr>
        <p:spPr>
          <a:xfrm>
            <a:off x="607219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15,40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1A766794-13BA-45E4-BBDF-4CC9505DBE0A}"/>
              </a:ext>
            </a:extLst>
          </p:cNvPr>
          <p:cNvCxnSpPr>
            <a:cxnSpLocks/>
          </p:cNvCxnSpPr>
          <p:nvPr userDrawn="1"/>
        </p:nvCxnSpPr>
        <p:spPr>
          <a:xfrm>
            <a:off x="-292894" y="473868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77F88B12-7850-434E-BFD0-0CCC70021B2F}"/>
              </a:ext>
            </a:extLst>
          </p:cNvPr>
          <p:cNvSpPr txBox="1"/>
          <p:nvPr userDrawn="1"/>
        </p:nvSpPr>
        <p:spPr>
          <a:xfrm>
            <a:off x="-566738" y="526256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8,20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C2A35DBD-97A4-4732-92D6-2676E5A68792}"/>
              </a:ext>
            </a:extLst>
          </p:cNvPr>
          <p:cNvCxnSpPr>
            <a:cxnSpLocks/>
          </p:cNvCxnSpPr>
          <p:nvPr userDrawn="1"/>
        </p:nvCxnSpPr>
        <p:spPr>
          <a:xfrm>
            <a:off x="-292894" y="800100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420BE6FB-D992-45E5-96F2-2C84FE3B158E}"/>
              </a:ext>
            </a:extLst>
          </p:cNvPr>
          <p:cNvSpPr txBox="1"/>
          <p:nvPr userDrawn="1"/>
        </p:nvSpPr>
        <p:spPr>
          <a:xfrm>
            <a:off x="-566738" y="852488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7,30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1A31E35C-7422-4D6A-810C-301A3B1A7748}"/>
              </a:ext>
            </a:extLst>
          </p:cNvPr>
          <p:cNvCxnSpPr>
            <a:cxnSpLocks/>
          </p:cNvCxnSpPr>
          <p:nvPr userDrawn="1"/>
        </p:nvCxnSpPr>
        <p:spPr>
          <a:xfrm flipV="1">
            <a:off x="11640345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67D70898-B880-4AE6-83ED-D0CC40704BA4}"/>
              </a:ext>
            </a:extLst>
          </p:cNvPr>
          <p:cNvSpPr txBox="1"/>
          <p:nvPr userDrawn="1"/>
        </p:nvSpPr>
        <p:spPr>
          <a:xfrm>
            <a:off x="11696701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15,40</a:t>
            </a: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CEC74435-B45D-4FCA-87E9-E03A4856E8E5}"/>
              </a:ext>
            </a:extLst>
          </p:cNvPr>
          <p:cNvCxnSpPr>
            <a:cxnSpLocks/>
          </p:cNvCxnSpPr>
          <p:nvPr userDrawn="1"/>
        </p:nvCxnSpPr>
        <p:spPr>
          <a:xfrm>
            <a:off x="-292894" y="1412556"/>
            <a:ext cx="21272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EFB9EFE6-BB99-41BB-AC54-7E37682905E3}"/>
              </a:ext>
            </a:extLst>
          </p:cNvPr>
          <p:cNvSpPr txBox="1"/>
          <p:nvPr userDrawn="1"/>
        </p:nvSpPr>
        <p:spPr>
          <a:xfrm>
            <a:off x="-566738" y="1464944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5,60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54778B9-22DC-4B47-8AC3-207CED9EC9E1}"/>
              </a:ext>
            </a:extLst>
          </p:cNvPr>
          <p:cNvCxnSpPr>
            <a:cxnSpLocks/>
          </p:cNvCxnSpPr>
          <p:nvPr userDrawn="1"/>
        </p:nvCxnSpPr>
        <p:spPr>
          <a:xfrm>
            <a:off x="-292894" y="6094768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42">
            <a:extLst>
              <a:ext uri="{FF2B5EF4-FFF2-40B4-BE49-F238E27FC236}">
                <a16:creationId xmlns:a16="http://schemas.microsoft.com/office/drawing/2014/main" id="{09CC9732-7F67-4CB6-B6D9-BFC31B863AC6}"/>
              </a:ext>
            </a:extLst>
          </p:cNvPr>
          <p:cNvSpPr txBox="1"/>
          <p:nvPr userDrawn="1"/>
        </p:nvSpPr>
        <p:spPr>
          <a:xfrm>
            <a:off x="-566738" y="6147156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7,40</a:t>
            </a:r>
          </a:p>
        </p:txBody>
      </p: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387359FB-EE38-4A0F-8C1B-3DFADCF54E7D}"/>
              </a:ext>
            </a:extLst>
          </p:cNvPr>
          <p:cNvCxnSpPr>
            <a:cxnSpLocks/>
          </p:cNvCxnSpPr>
          <p:nvPr userDrawn="1"/>
        </p:nvCxnSpPr>
        <p:spPr>
          <a:xfrm>
            <a:off x="-292894" y="6345379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feld 44">
            <a:extLst>
              <a:ext uri="{FF2B5EF4-FFF2-40B4-BE49-F238E27FC236}">
                <a16:creationId xmlns:a16="http://schemas.microsoft.com/office/drawing/2014/main" id="{D97B0317-71FF-43A7-BF92-E2D9997B888B}"/>
              </a:ext>
            </a:extLst>
          </p:cNvPr>
          <p:cNvSpPr txBox="1"/>
          <p:nvPr userDrawn="1"/>
        </p:nvSpPr>
        <p:spPr>
          <a:xfrm>
            <a:off x="-566738" y="6397767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8,10</a:t>
            </a:r>
          </a:p>
        </p:txBody>
      </p:sp>
      <p:sp>
        <p:nvSpPr>
          <p:cNvPr id="38" name="Titel 1">
            <a:extLst>
              <a:ext uri="{FF2B5EF4-FFF2-40B4-BE49-F238E27FC236}">
                <a16:creationId xmlns:a16="http://schemas.microsoft.com/office/drawing/2014/main" id="{682FC982-4812-4EA5-96E2-E7F33A8430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2" y="4409939"/>
            <a:ext cx="5364000" cy="1267200"/>
          </a:xfrm>
        </p:spPr>
        <p:txBody>
          <a:bodyPr bIns="72000" anchor="b">
            <a:noAutofit/>
          </a:bodyPr>
          <a:lstStyle>
            <a:lvl1pPr>
              <a:defRPr sz="3600" b="0">
                <a:latin typeface="+mn-lt"/>
              </a:defRPr>
            </a:lvl1pPr>
          </a:lstStyle>
          <a:p>
            <a:r>
              <a:rPr lang="de-DE" dirty="0"/>
              <a:t>Titelfolie, 36 </a:t>
            </a:r>
            <a:r>
              <a:rPr lang="de-DE" dirty="0" err="1"/>
              <a:t>p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/>
              <a:t>zweizeilig möglich</a:t>
            </a:r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85291E6A-106F-4D43-8ED4-0F0C20B6AA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2" y="5717565"/>
            <a:ext cx="5364000" cy="302400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| Vortragender | optional</a:t>
            </a:r>
          </a:p>
        </p:txBody>
      </p:sp>
    </p:spTree>
    <p:extLst>
      <p:ext uri="{BB962C8B-B14F-4D97-AF65-F5344CB8AC3E}">
        <p14:creationId xmlns:p14="http://schemas.microsoft.com/office/powerpoint/2010/main" val="28186168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 zur freien Gestal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98646AE-4227-47A1-9F07-2D4E74D5C6C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3006ADF7-280D-4EAD-9ED0-B65FC39B9A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1" y="864084"/>
            <a:ext cx="11088000" cy="26583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/>
            </a:lvl1pPr>
          </a:lstStyle>
          <a:p>
            <a:pPr lvl="0"/>
            <a:r>
              <a:rPr lang="de-DE" dirty="0"/>
              <a:t>Untertitel, optional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EFAA7117-B871-475F-A19B-4FEFEFA44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dirty="0"/>
              <a:t>Leere Folie zur freien Gestaltung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792ED9F9-22F8-4F4E-BC98-E56E1CAD3C3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00" y="5828031"/>
            <a:ext cx="11088000" cy="265834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800" b="0"/>
            </a:lvl1pPr>
          </a:lstStyle>
          <a:p>
            <a:pPr lvl="0"/>
            <a:r>
              <a:rPr lang="de-DE" dirty="0"/>
              <a:t>Quellenangabe: optional</a:t>
            </a:r>
          </a:p>
        </p:txBody>
      </p:sp>
    </p:spTree>
    <p:extLst>
      <p:ext uri="{BB962C8B-B14F-4D97-AF65-F5344CB8AC3E}">
        <p14:creationId xmlns:p14="http://schemas.microsoft.com/office/powerpoint/2010/main" val="9391175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eere Folie zur freien Gestaltung_bla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98646AE-4227-47A1-9F07-2D4E74D5C6C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98AE3255-2209-46FC-BEE8-DFE0D64CD7FF}"/>
              </a:ext>
            </a:extLst>
          </p:cNvPr>
          <p:cNvCxnSpPr>
            <a:cxnSpLocks/>
          </p:cNvCxnSpPr>
          <p:nvPr userDrawn="1"/>
        </p:nvCxnSpPr>
        <p:spPr>
          <a:xfrm flipV="1">
            <a:off x="550863" y="-209550"/>
            <a:ext cx="0" cy="14763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3986493A-590F-4AA1-8AC5-D26DE0FE90F0}"/>
              </a:ext>
            </a:extLst>
          </p:cNvPr>
          <p:cNvSpPr txBox="1"/>
          <p:nvPr userDrawn="1"/>
        </p:nvSpPr>
        <p:spPr>
          <a:xfrm>
            <a:off x="607219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>
                <a:solidFill>
                  <a:schemeClr val="bg1"/>
                </a:solidFill>
              </a:rPr>
              <a:t>15,40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B8D0FA9-463D-4101-9B7B-A9A2A43F043F}"/>
              </a:ext>
            </a:extLst>
          </p:cNvPr>
          <p:cNvCxnSpPr>
            <a:cxnSpLocks/>
          </p:cNvCxnSpPr>
          <p:nvPr userDrawn="1"/>
        </p:nvCxnSpPr>
        <p:spPr>
          <a:xfrm>
            <a:off x="-292894" y="473868"/>
            <a:ext cx="2127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50126EEA-C1DE-4BD9-B7DE-793852946E96}"/>
              </a:ext>
            </a:extLst>
          </p:cNvPr>
          <p:cNvSpPr txBox="1"/>
          <p:nvPr userDrawn="1"/>
        </p:nvSpPr>
        <p:spPr>
          <a:xfrm>
            <a:off x="-566738" y="526256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>
                <a:solidFill>
                  <a:schemeClr val="bg1"/>
                </a:solidFill>
              </a:rPr>
              <a:t>8,20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5FBAB978-097F-40B9-8AFC-5B3E89A6D134}"/>
              </a:ext>
            </a:extLst>
          </p:cNvPr>
          <p:cNvCxnSpPr>
            <a:cxnSpLocks/>
          </p:cNvCxnSpPr>
          <p:nvPr userDrawn="1"/>
        </p:nvCxnSpPr>
        <p:spPr>
          <a:xfrm>
            <a:off x="-292894" y="800100"/>
            <a:ext cx="2127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51A5E8BF-1B4E-470E-AD49-1A740AFD5149}"/>
              </a:ext>
            </a:extLst>
          </p:cNvPr>
          <p:cNvSpPr txBox="1"/>
          <p:nvPr userDrawn="1"/>
        </p:nvSpPr>
        <p:spPr>
          <a:xfrm>
            <a:off x="-566738" y="852488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>
                <a:solidFill>
                  <a:schemeClr val="bg1"/>
                </a:solidFill>
              </a:rPr>
              <a:t>7,30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6BF2E4FA-64CD-4CA7-BD28-1DCE5DB13F4D}"/>
              </a:ext>
            </a:extLst>
          </p:cNvPr>
          <p:cNvCxnSpPr>
            <a:cxnSpLocks/>
          </p:cNvCxnSpPr>
          <p:nvPr userDrawn="1"/>
        </p:nvCxnSpPr>
        <p:spPr>
          <a:xfrm flipV="1">
            <a:off x="11640345" y="-209550"/>
            <a:ext cx="0" cy="14763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F9983F0A-D93E-41C9-AC3B-02885759E899}"/>
              </a:ext>
            </a:extLst>
          </p:cNvPr>
          <p:cNvSpPr txBox="1"/>
          <p:nvPr userDrawn="1"/>
        </p:nvSpPr>
        <p:spPr>
          <a:xfrm>
            <a:off x="11696701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>
                <a:solidFill>
                  <a:schemeClr val="bg1"/>
                </a:solidFill>
              </a:rPr>
              <a:t>15,40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96C1DCE3-099D-430D-8D41-636F3E78BAD2}"/>
              </a:ext>
            </a:extLst>
          </p:cNvPr>
          <p:cNvCxnSpPr>
            <a:cxnSpLocks/>
          </p:cNvCxnSpPr>
          <p:nvPr userDrawn="1"/>
        </p:nvCxnSpPr>
        <p:spPr>
          <a:xfrm>
            <a:off x="-292894" y="1412556"/>
            <a:ext cx="2127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683F3BE1-5CBF-4BFD-901C-9D21285A781F}"/>
              </a:ext>
            </a:extLst>
          </p:cNvPr>
          <p:cNvSpPr txBox="1"/>
          <p:nvPr userDrawn="1"/>
        </p:nvSpPr>
        <p:spPr>
          <a:xfrm>
            <a:off x="-566738" y="1464944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>
                <a:solidFill>
                  <a:schemeClr val="bg1"/>
                </a:solidFill>
              </a:rPr>
              <a:t>5,60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7F1E2AE6-5FF7-4BCD-86A5-088C73198236}"/>
              </a:ext>
            </a:extLst>
          </p:cNvPr>
          <p:cNvCxnSpPr>
            <a:cxnSpLocks/>
          </p:cNvCxnSpPr>
          <p:nvPr userDrawn="1"/>
        </p:nvCxnSpPr>
        <p:spPr>
          <a:xfrm>
            <a:off x="-292894" y="6094768"/>
            <a:ext cx="2127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0BA16828-7492-4A31-8E8D-4383AEDC9DC5}"/>
              </a:ext>
            </a:extLst>
          </p:cNvPr>
          <p:cNvSpPr txBox="1"/>
          <p:nvPr userDrawn="1"/>
        </p:nvSpPr>
        <p:spPr>
          <a:xfrm>
            <a:off x="-566738" y="6147156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>
                <a:solidFill>
                  <a:schemeClr val="bg1"/>
                </a:solidFill>
              </a:rPr>
              <a:t>7,40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74D52DA9-3488-41FF-88DF-D31A563E13ED}"/>
              </a:ext>
            </a:extLst>
          </p:cNvPr>
          <p:cNvCxnSpPr>
            <a:cxnSpLocks/>
          </p:cNvCxnSpPr>
          <p:nvPr userDrawn="1"/>
        </p:nvCxnSpPr>
        <p:spPr>
          <a:xfrm>
            <a:off x="-292894" y="6345379"/>
            <a:ext cx="2127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C8779042-3C13-4428-8802-13A1EA86E2A7}"/>
              </a:ext>
            </a:extLst>
          </p:cNvPr>
          <p:cNvSpPr txBox="1"/>
          <p:nvPr userDrawn="1"/>
        </p:nvSpPr>
        <p:spPr>
          <a:xfrm>
            <a:off x="-566738" y="6397767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>
                <a:solidFill>
                  <a:schemeClr val="bg1"/>
                </a:solidFill>
              </a:rPr>
              <a:t>8,10</a:t>
            </a:r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81DB54E6-2720-D8D3-EADF-F9E59A132A5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2" y="5717565"/>
            <a:ext cx="5364000" cy="302400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| Vortragender | option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545F572-E392-4586-506B-B98529760280}"/>
              </a:ext>
            </a:extLst>
          </p:cNvPr>
          <p:cNvSpPr txBox="1"/>
          <p:nvPr userDrawn="1"/>
        </p:nvSpPr>
        <p:spPr>
          <a:xfrm>
            <a:off x="8001000" y="248478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DE" sz="1200" dirty="0" err="1"/>
          </a:p>
        </p:txBody>
      </p:sp>
      <p:sp>
        <p:nvSpPr>
          <p:cNvPr id="31" name="Bildplatzhalter 4">
            <a:extLst>
              <a:ext uri="{FF2B5EF4-FFF2-40B4-BE49-F238E27FC236}">
                <a16:creationId xmlns:a16="http://schemas.microsoft.com/office/drawing/2014/main" id="{A48DF3E8-1276-399B-9F74-3757B61F495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274636" y="1414800"/>
            <a:ext cx="5917364" cy="4413600"/>
          </a:xfrm>
          <a:solidFill>
            <a:schemeClr val="accent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7E9FC6FD-4E8F-79CE-1BC3-254B02A439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2" y="4409939"/>
            <a:ext cx="5364000" cy="1267200"/>
          </a:xfrm>
        </p:spPr>
        <p:txBody>
          <a:bodyPr bIns="72000" anchor="b">
            <a:noAutofit/>
          </a:bodyPr>
          <a:lstStyle>
            <a:lvl1pPr>
              <a:defRPr sz="3600" b="0">
                <a:latin typeface="+mn-lt"/>
              </a:defRPr>
            </a:lvl1pPr>
          </a:lstStyle>
          <a:p>
            <a:r>
              <a:rPr lang="de-DE" dirty="0"/>
              <a:t>Titelfolie, 36 </a:t>
            </a:r>
            <a:r>
              <a:rPr lang="de-DE" dirty="0" err="1"/>
              <a:t>p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/>
              <a:t>zweizeilig möglich</a:t>
            </a:r>
          </a:p>
        </p:txBody>
      </p:sp>
    </p:spTree>
    <p:extLst>
      <p:ext uri="{BB962C8B-B14F-4D97-AF65-F5344CB8AC3E}">
        <p14:creationId xmlns:p14="http://schemas.microsoft.com/office/powerpoint/2010/main" val="39430392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e Folie zur freien Gestaltung_bla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98646AE-4227-47A1-9F07-2D4E74D5C6C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3006ADF7-280D-4EAD-9ED0-B65FC39B9A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1" y="864084"/>
            <a:ext cx="11088000" cy="26583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Untertitel, optional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EFAA7117-B871-475F-A19B-4FEFEFA44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Leere Folie zur freien Gestaltung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792ED9F9-22F8-4F4E-BC98-E56E1CAD3C3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00" y="1339437"/>
            <a:ext cx="11088000" cy="4754428"/>
          </a:xfrm>
        </p:spPr>
        <p:txBody>
          <a:bodyPr anchor="t"/>
          <a:lstStyle>
            <a:lvl1pPr marL="0" indent="0">
              <a:buFont typeface="Arial" panose="020B0604020202020204" pitchFamily="34" charset="0"/>
              <a:buNone/>
              <a:defRPr sz="1200" b="0"/>
            </a:lvl1pPr>
          </a:lstStyle>
          <a:p>
            <a:pPr lvl="0"/>
            <a:r>
              <a:rPr lang="de-DE" dirty="0"/>
              <a:t>Quellenangabe: optional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98AE3255-2209-46FC-BEE8-DFE0D64CD7FF}"/>
              </a:ext>
            </a:extLst>
          </p:cNvPr>
          <p:cNvCxnSpPr>
            <a:cxnSpLocks/>
          </p:cNvCxnSpPr>
          <p:nvPr userDrawn="1"/>
        </p:nvCxnSpPr>
        <p:spPr>
          <a:xfrm flipV="1">
            <a:off x="550863" y="-209550"/>
            <a:ext cx="0" cy="14763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3986493A-590F-4AA1-8AC5-D26DE0FE90F0}"/>
              </a:ext>
            </a:extLst>
          </p:cNvPr>
          <p:cNvSpPr txBox="1"/>
          <p:nvPr userDrawn="1"/>
        </p:nvSpPr>
        <p:spPr>
          <a:xfrm>
            <a:off x="607219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>
                <a:solidFill>
                  <a:schemeClr val="bg1"/>
                </a:solidFill>
              </a:rPr>
              <a:t>15,40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B8D0FA9-463D-4101-9B7B-A9A2A43F043F}"/>
              </a:ext>
            </a:extLst>
          </p:cNvPr>
          <p:cNvCxnSpPr>
            <a:cxnSpLocks/>
          </p:cNvCxnSpPr>
          <p:nvPr userDrawn="1"/>
        </p:nvCxnSpPr>
        <p:spPr>
          <a:xfrm>
            <a:off x="-292894" y="473868"/>
            <a:ext cx="2127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50126EEA-C1DE-4BD9-B7DE-793852946E96}"/>
              </a:ext>
            </a:extLst>
          </p:cNvPr>
          <p:cNvSpPr txBox="1"/>
          <p:nvPr userDrawn="1"/>
        </p:nvSpPr>
        <p:spPr>
          <a:xfrm>
            <a:off x="-566738" y="526256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>
                <a:solidFill>
                  <a:schemeClr val="bg1"/>
                </a:solidFill>
              </a:rPr>
              <a:t>8,20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5FBAB978-097F-40B9-8AFC-5B3E89A6D134}"/>
              </a:ext>
            </a:extLst>
          </p:cNvPr>
          <p:cNvCxnSpPr>
            <a:cxnSpLocks/>
          </p:cNvCxnSpPr>
          <p:nvPr userDrawn="1"/>
        </p:nvCxnSpPr>
        <p:spPr>
          <a:xfrm>
            <a:off x="-292894" y="800100"/>
            <a:ext cx="2127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51A5E8BF-1B4E-470E-AD49-1A740AFD5149}"/>
              </a:ext>
            </a:extLst>
          </p:cNvPr>
          <p:cNvSpPr txBox="1"/>
          <p:nvPr userDrawn="1"/>
        </p:nvSpPr>
        <p:spPr>
          <a:xfrm>
            <a:off x="-566738" y="852488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>
                <a:solidFill>
                  <a:schemeClr val="bg1"/>
                </a:solidFill>
              </a:rPr>
              <a:t>7,30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6BF2E4FA-64CD-4CA7-BD28-1DCE5DB13F4D}"/>
              </a:ext>
            </a:extLst>
          </p:cNvPr>
          <p:cNvCxnSpPr>
            <a:cxnSpLocks/>
          </p:cNvCxnSpPr>
          <p:nvPr userDrawn="1"/>
        </p:nvCxnSpPr>
        <p:spPr>
          <a:xfrm flipV="1">
            <a:off x="11640345" y="-209550"/>
            <a:ext cx="0" cy="14763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F9983F0A-D93E-41C9-AC3B-02885759E899}"/>
              </a:ext>
            </a:extLst>
          </p:cNvPr>
          <p:cNvSpPr txBox="1"/>
          <p:nvPr userDrawn="1"/>
        </p:nvSpPr>
        <p:spPr>
          <a:xfrm>
            <a:off x="11696701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>
                <a:solidFill>
                  <a:schemeClr val="bg1"/>
                </a:solidFill>
              </a:rPr>
              <a:t>15,40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96C1DCE3-099D-430D-8D41-636F3E78BAD2}"/>
              </a:ext>
            </a:extLst>
          </p:cNvPr>
          <p:cNvCxnSpPr>
            <a:cxnSpLocks/>
          </p:cNvCxnSpPr>
          <p:nvPr userDrawn="1"/>
        </p:nvCxnSpPr>
        <p:spPr>
          <a:xfrm>
            <a:off x="-292894" y="1412556"/>
            <a:ext cx="2127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683F3BE1-5CBF-4BFD-901C-9D21285A781F}"/>
              </a:ext>
            </a:extLst>
          </p:cNvPr>
          <p:cNvSpPr txBox="1"/>
          <p:nvPr userDrawn="1"/>
        </p:nvSpPr>
        <p:spPr>
          <a:xfrm>
            <a:off x="-566738" y="1464944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>
                <a:solidFill>
                  <a:schemeClr val="bg1"/>
                </a:solidFill>
              </a:rPr>
              <a:t>5,60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7F1E2AE6-5FF7-4BCD-86A5-088C73198236}"/>
              </a:ext>
            </a:extLst>
          </p:cNvPr>
          <p:cNvCxnSpPr>
            <a:cxnSpLocks/>
          </p:cNvCxnSpPr>
          <p:nvPr userDrawn="1"/>
        </p:nvCxnSpPr>
        <p:spPr>
          <a:xfrm>
            <a:off x="-292894" y="6094768"/>
            <a:ext cx="2127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0BA16828-7492-4A31-8E8D-4383AEDC9DC5}"/>
              </a:ext>
            </a:extLst>
          </p:cNvPr>
          <p:cNvSpPr txBox="1"/>
          <p:nvPr userDrawn="1"/>
        </p:nvSpPr>
        <p:spPr>
          <a:xfrm>
            <a:off x="-566738" y="6147156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>
                <a:solidFill>
                  <a:schemeClr val="bg1"/>
                </a:solidFill>
              </a:rPr>
              <a:t>7,40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74D52DA9-3488-41FF-88DF-D31A563E13ED}"/>
              </a:ext>
            </a:extLst>
          </p:cNvPr>
          <p:cNvCxnSpPr>
            <a:cxnSpLocks/>
          </p:cNvCxnSpPr>
          <p:nvPr userDrawn="1"/>
        </p:nvCxnSpPr>
        <p:spPr>
          <a:xfrm>
            <a:off x="-292894" y="6345379"/>
            <a:ext cx="2127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C8779042-3C13-4428-8802-13A1EA86E2A7}"/>
              </a:ext>
            </a:extLst>
          </p:cNvPr>
          <p:cNvSpPr txBox="1"/>
          <p:nvPr userDrawn="1"/>
        </p:nvSpPr>
        <p:spPr>
          <a:xfrm>
            <a:off x="-566738" y="6397767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>
                <a:solidFill>
                  <a:schemeClr val="bg1"/>
                </a:solidFill>
              </a:rPr>
              <a:t>8,10</a:t>
            </a:r>
          </a:p>
        </p:txBody>
      </p:sp>
    </p:spTree>
    <p:extLst>
      <p:ext uri="{BB962C8B-B14F-4D97-AF65-F5344CB8AC3E}">
        <p14:creationId xmlns:p14="http://schemas.microsoft.com/office/powerpoint/2010/main" val="26613423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0F609D-1315-4F88-97E0-1A58FC0B3B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1" y="3994217"/>
            <a:ext cx="6831011" cy="1368421"/>
          </a:xfrm>
        </p:spPr>
        <p:txBody>
          <a:bodyPr bIns="72000" anchor="t">
            <a:noAutofit/>
          </a:bodyPr>
          <a:lstStyle>
            <a:lvl1pPr>
              <a:defRPr sz="3600" b="0">
                <a:latin typeface="+mn-lt"/>
              </a:defRPr>
            </a:lvl1pPr>
          </a:lstStyle>
          <a:p>
            <a:r>
              <a:rPr lang="de-DE" dirty="0"/>
              <a:t>Vielen Dank für Ihre</a:t>
            </a:r>
            <a:br>
              <a:rPr lang="de-DE" dirty="0"/>
            </a:br>
            <a:r>
              <a:rPr lang="de-DE" dirty="0"/>
              <a:t>Aufmerksamkeit!</a:t>
            </a:r>
          </a:p>
        </p:txBody>
      </p:sp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C3744A4F-7E89-4E26-B1EA-9B546D4E514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352001" y="3"/>
            <a:ext cx="6840001" cy="6857999"/>
          </a:xfrm>
          <a:custGeom>
            <a:avLst/>
            <a:gdLst>
              <a:gd name="connsiteX0" fmla="*/ 4579115 w 6840001"/>
              <a:gd name="connsiteY0" fmla="*/ 4589998 h 6857999"/>
              <a:gd name="connsiteX1" fmla="*/ 6840001 w 6840001"/>
              <a:gd name="connsiteY1" fmla="*/ 4589998 h 6857999"/>
              <a:gd name="connsiteX2" fmla="*/ 6840001 w 6840001"/>
              <a:gd name="connsiteY2" fmla="*/ 6857999 h 6857999"/>
              <a:gd name="connsiteX3" fmla="*/ 4579115 w 6840001"/>
              <a:gd name="connsiteY3" fmla="*/ 6857999 h 6857999"/>
              <a:gd name="connsiteX4" fmla="*/ 4572000 w 6840001"/>
              <a:gd name="connsiteY4" fmla="*/ 2303997 h 6857999"/>
              <a:gd name="connsiteX5" fmla="*/ 6840001 w 6840001"/>
              <a:gd name="connsiteY5" fmla="*/ 2303997 h 6857999"/>
              <a:gd name="connsiteX6" fmla="*/ 6840001 w 6840001"/>
              <a:gd name="connsiteY6" fmla="*/ 4553998 h 6857999"/>
              <a:gd name="connsiteX7" fmla="*/ 4572000 w 6840001"/>
              <a:gd name="connsiteY7" fmla="*/ 4553998 h 6857999"/>
              <a:gd name="connsiteX8" fmla="*/ 2286000 w 6840001"/>
              <a:gd name="connsiteY8" fmla="*/ 2303997 h 6857999"/>
              <a:gd name="connsiteX9" fmla="*/ 4536000 w 6840001"/>
              <a:gd name="connsiteY9" fmla="*/ 2303997 h 6857999"/>
              <a:gd name="connsiteX10" fmla="*/ 4536000 w 6840001"/>
              <a:gd name="connsiteY10" fmla="*/ 4553998 h 6857999"/>
              <a:gd name="connsiteX11" fmla="*/ 2286000 w 6840001"/>
              <a:gd name="connsiteY11" fmla="*/ 4553998 h 6857999"/>
              <a:gd name="connsiteX12" fmla="*/ 4572000 w 6840001"/>
              <a:gd name="connsiteY12" fmla="*/ 0 h 6857999"/>
              <a:gd name="connsiteX13" fmla="*/ 6840001 w 6840001"/>
              <a:gd name="connsiteY13" fmla="*/ 0 h 6857999"/>
              <a:gd name="connsiteX14" fmla="*/ 6840001 w 6840001"/>
              <a:gd name="connsiteY14" fmla="*/ 2267997 h 6857999"/>
              <a:gd name="connsiteX15" fmla="*/ 4572000 w 6840001"/>
              <a:gd name="connsiteY15" fmla="*/ 2267997 h 6857999"/>
              <a:gd name="connsiteX16" fmla="*/ 0 w 6840001"/>
              <a:gd name="connsiteY16" fmla="*/ 0 h 6857999"/>
              <a:gd name="connsiteX17" fmla="*/ 2249999 w 6840001"/>
              <a:gd name="connsiteY17" fmla="*/ 0 h 6857999"/>
              <a:gd name="connsiteX18" fmla="*/ 2249999 w 6840001"/>
              <a:gd name="connsiteY18" fmla="*/ 2267997 h 6857999"/>
              <a:gd name="connsiteX19" fmla="*/ 0 w 6840001"/>
              <a:gd name="connsiteY19" fmla="*/ 2267997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840001" h="6857999">
                <a:moveTo>
                  <a:pt x="4579115" y="4589998"/>
                </a:moveTo>
                <a:lnTo>
                  <a:pt x="6840001" y="4589998"/>
                </a:lnTo>
                <a:lnTo>
                  <a:pt x="6840001" y="6857999"/>
                </a:lnTo>
                <a:lnTo>
                  <a:pt x="4579115" y="6857999"/>
                </a:lnTo>
                <a:close/>
                <a:moveTo>
                  <a:pt x="4572000" y="2303997"/>
                </a:moveTo>
                <a:lnTo>
                  <a:pt x="6840001" y="2303997"/>
                </a:lnTo>
                <a:lnTo>
                  <a:pt x="6840001" y="4553998"/>
                </a:lnTo>
                <a:lnTo>
                  <a:pt x="4572000" y="4553998"/>
                </a:lnTo>
                <a:close/>
                <a:moveTo>
                  <a:pt x="2286000" y="2303997"/>
                </a:moveTo>
                <a:lnTo>
                  <a:pt x="4536000" y="2303997"/>
                </a:lnTo>
                <a:lnTo>
                  <a:pt x="4536000" y="4553998"/>
                </a:lnTo>
                <a:lnTo>
                  <a:pt x="2286000" y="4553998"/>
                </a:lnTo>
                <a:close/>
                <a:moveTo>
                  <a:pt x="4572000" y="0"/>
                </a:moveTo>
                <a:lnTo>
                  <a:pt x="6840001" y="0"/>
                </a:lnTo>
                <a:lnTo>
                  <a:pt x="6840001" y="2267997"/>
                </a:lnTo>
                <a:lnTo>
                  <a:pt x="4572000" y="2267997"/>
                </a:lnTo>
                <a:close/>
                <a:moveTo>
                  <a:pt x="0" y="0"/>
                </a:moveTo>
                <a:lnTo>
                  <a:pt x="2249999" y="0"/>
                </a:lnTo>
                <a:lnTo>
                  <a:pt x="2249999" y="2267997"/>
                </a:lnTo>
                <a:lnTo>
                  <a:pt x="0" y="22679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D7AB7DCE-F024-4134-A4E7-C2CA0D0FDD99}"/>
              </a:ext>
            </a:extLst>
          </p:cNvPr>
          <p:cNvCxnSpPr>
            <a:cxnSpLocks/>
          </p:cNvCxnSpPr>
          <p:nvPr userDrawn="1"/>
        </p:nvCxnSpPr>
        <p:spPr>
          <a:xfrm flipV="1">
            <a:off x="550863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B1F09D9F-AA07-4466-885B-C0E7B551A44F}"/>
              </a:ext>
            </a:extLst>
          </p:cNvPr>
          <p:cNvSpPr txBox="1"/>
          <p:nvPr userDrawn="1"/>
        </p:nvSpPr>
        <p:spPr>
          <a:xfrm>
            <a:off x="607219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15,40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4D43C9F0-4FAC-4C0E-A72F-9C78D1A7621A}"/>
              </a:ext>
            </a:extLst>
          </p:cNvPr>
          <p:cNvCxnSpPr>
            <a:cxnSpLocks/>
          </p:cNvCxnSpPr>
          <p:nvPr userDrawn="1"/>
        </p:nvCxnSpPr>
        <p:spPr>
          <a:xfrm>
            <a:off x="-292894" y="473868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38A0D319-B287-4A74-829B-BACDBA6F564F}"/>
              </a:ext>
            </a:extLst>
          </p:cNvPr>
          <p:cNvSpPr txBox="1"/>
          <p:nvPr userDrawn="1"/>
        </p:nvSpPr>
        <p:spPr>
          <a:xfrm>
            <a:off x="-566738" y="526256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8,20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17E09EEF-7DD8-43A3-B47D-AA42524075D8}"/>
              </a:ext>
            </a:extLst>
          </p:cNvPr>
          <p:cNvCxnSpPr>
            <a:cxnSpLocks/>
          </p:cNvCxnSpPr>
          <p:nvPr userDrawn="1"/>
        </p:nvCxnSpPr>
        <p:spPr>
          <a:xfrm>
            <a:off x="-292894" y="800100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670AEAA7-CB87-425A-BF5B-C230322CB663}"/>
              </a:ext>
            </a:extLst>
          </p:cNvPr>
          <p:cNvSpPr txBox="1"/>
          <p:nvPr userDrawn="1"/>
        </p:nvSpPr>
        <p:spPr>
          <a:xfrm>
            <a:off x="-566738" y="852488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7,30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FC6D2781-9937-4F53-B699-C69B945D96BF}"/>
              </a:ext>
            </a:extLst>
          </p:cNvPr>
          <p:cNvCxnSpPr>
            <a:cxnSpLocks/>
          </p:cNvCxnSpPr>
          <p:nvPr userDrawn="1"/>
        </p:nvCxnSpPr>
        <p:spPr>
          <a:xfrm flipV="1">
            <a:off x="11640345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A6AAD560-6E56-4B55-9220-98C08F59483A}"/>
              </a:ext>
            </a:extLst>
          </p:cNvPr>
          <p:cNvSpPr txBox="1"/>
          <p:nvPr userDrawn="1"/>
        </p:nvSpPr>
        <p:spPr>
          <a:xfrm>
            <a:off x="11696701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15,40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BADB4146-9189-4442-ADBD-ED90462FD13C}"/>
              </a:ext>
            </a:extLst>
          </p:cNvPr>
          <p:cNvCxnSpPr>
            <a:cxnSpLocks/>
          </p:cNvCxnSpPr>
          <p:nvPr userDrawn="1"/>
        </p:nvCxnSpPr>
        <p:spPr>
          <a:xfrm>
            <a:off x="-292894" y="1412556"/>
            <a:ext cx="21272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1A61ECA8-F4E3-4C68-B5C4-ADB00F5EC82C}"/>
              </a:ext>
            </a:extLst>
          </p:cNvPr>
          <p:cNvSpPr txBox="1"/>
          <p:nvPr userDrawn="1"/>
        </p:nvSpPr>
        <p:spPr>
          <a:xfrm>
            <a:off x="-566738" y="1464944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5,60</a:t>
            </a: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2684DBCB-1520-4ACF-821B-DFE58DF0A312}"/>
              </a:ext>
            </a:extLst>
          </p:cNvPr>
          <p:cNvCxnSpPr>
            <a:cxnSpLocks/>
          </p:cNvCxnSpPr>
          <p:nvPr userDrawn="1"/>
        </p:nvCxnSpPr>
        <p:spPr>
          <a:xfrm>
            <a:off x="-292894" y="6094768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2AEE3D68-5553-4EBA-9A1B-6780000678D9}"/>
              </a:ext>
            </a:extLst>
          </p:cNvPr>
          <p:cNvSpPr txBox="1"/>
          <p:nvPr userDrawn="1"/>
        </p:nvSpPr>
        <p:spPr>
          <a:xfrm>
            <a:off x="-566738" y="6147156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7,40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AEA6BC66-8F2A-4C1F-881C-1A1EF8FF442B}"/>
              </a:ext>
            </a:extLst>
          </p:cNvPr>
          <p:cNvCxnSpPr>
            <a:cxnSpLocks/>
          </p:cNvCxnSpPr>
          <p:nvPr userDrawn="1"/>
        </p:nvCxnSpPr>
        <p:spPr>
          <a:xfrm>
            <a:off x="-292894" y="6345379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>
            <a:extLst>
              <a:ext uri="{FF2B5EF4-FFF2-40B4-BE49-F238E27FC236}">
                <a16:creationId xmlns:a16="http://schemas.microsoft.com/office/drawing/2014/main" id="{CDEBB5A0-4A84-46E0-80F6-47ED855449AA}"/>
              </a:ext>
            </a:extLst>
          </p:cNvPr>
          <p:cNvSpPr txBox="1"/>
          <p:nvPr userDrawn="1"/>
        </p:nvSpPr>
        <p:spPr>
          <a:xfrm>
            <a:off x="-566738" y="6397767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8,10</a:t>
            </a:r>
          </a:p>
        </p:txBody>
      </p:sp>
    </p:spTree>
    <p:extLst>
      <p:ext uri="{BB962C8B-B14F-4D97-AF65-F5344CB8AC3E}">
        <p14:creationId xmlns:p14="http://schemas.microsoft.com/office/powerpoint/2010/main" val="2357028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platzhalter 3">
            <a:extLst>
              <a:ext uri="{FF2B5EF4-FFF2-40B4-BE49-F238E27FC236}">
                <a16:creationId xmlns:a16="http://schemas.microsoft.com/office/drawing/2014/main" id="{F968CA92-F438-422B-A7F0-2306FC17DF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60" y="1700213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69" name="Textplatzhalter 3">
            <a:extLst>
              <a:ext uri="{FF2B5EF4-FFF2-40B4-BE49-F238E27FC236}">
                <a16:creationId xmlns:a16="http://schemas.microsoft.com/office/drawing/2014/main" id="{2C83F6BF-B298-4CB6-B876-3603941D70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0" y="2022635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1</a:t>
            </a:r>
          </a:p>
        </p:txBody>
      </p:sp>
      <p:sp>
        <p:nvSpPr>
          <p:cNvPr id="70" name="Textplatzhalter 3">
            <a:extLst>
              <a:ext uri="{FF2B5EF4-FFF2-40B4-BE49-F238E27FC236}">
                <a16:creationId xmlns:a16="http://schemas.microsoft.com/office/drawing/2014/main" id="{38C9353C-8C80-46EA-A939-527E7FCB83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7721" y="2390872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5" name="Textplatzhalter 3">
            <a:extLst>
              <a:ext uri="{FF2B5EF4-FFF2-40B4-BE49-F238E27FC236}">
                <a16:creationId xmlns:a16="http://schemas.microsoft.com/office/drawing/2014/main" id="{A5C59F96-456B-41F4-881E-0A7757EE05C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50860" y="4897755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46" name="Textplatzhalter 3">
            <a:extLst>
              <a:ext uri="{FF2B5EF4-FFF2-40B4-BE49-F238E27FC236}">
                <a16:creationId xmlns:a16="http://schemas.microsoft.com/office/drawing/2014/main" id="{07FED7D3-B7E2-489E-B602-A5CA1E348D4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50860" y="5220177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4</a:t>
            </a:r>
          </a:p>
        </p:txBody>
      </p:sp>
      <p:sp>
        <p:nvSpPr>
          <p:cNvPr id="47" name="Textplatzhalter 3">
            <a:extLst>
              <a:ext uri="{FF2B5EF4-FFF2-40B4-BE49-F238E27FC236}">
                <a16:creationId xmlns:a16="http://schemas.microsoft.com/office/drawing/2014/main" id="{BB5124BC-BE62-4D29-91EA-F2325D7BA26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47721" y="5588414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8" name="Textplatzhalter 3">
            <a:extLst>
              <a:ext uri="{FF2B5EF4-FFF2-40B4-BE49-F238E27FC236}">
                <a16:creationId xmlns:a16="http://schemas.microsoft.com/office/drawing/2014/main" id="{3794E261-5EA3-481D-8179-EDBA139F1CF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973160" y="4897755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49" name="Textplatzhalter 3">
            <a:extLst>
              <a:ext uri="{FF2B5EF4-FFF2-40B4-BE49-F238E27FC236}">
                <a16:creationId xmlns:a16="http://schemas.microsoft.com/office/drawing/2014/main" id="{253DA4C1-B43A-4915-83D0-14943A4C092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973160" y="5220177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8</a:t>
            </a:r>
          </a:p>
        </p:txBody>
      </p:sp>
      <p:sp>
        <p:nvSpPr>
          <p:cNvPr id="50" name="Textplatzhalter 3">
            <a:extLst>
              <a:ext uri="{FF2B5EF4-FFF2-40B4-BE49-F238E27FC236}">
                <a16:creationId xmlns:a16="http://schemas.microsoft.com/office/drawing/2014/main" id="{1A3EB076-6FE6-4C7B-9020-649E2F3C2533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973160" y="5588414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1" name="Textplatzhalter 3">
            <a:extLst>
              <a:ext uri="{FF2B5EF4-FFF2-40B4-BE49-F238E27FC236}">
                <a16:creationId xmlns:a16="http://schemas.microsoft.com/office/drawing/2014/main" id="{A86BE064-E81B-4122-98B3-7D740307D50B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395456" y="4897755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F40749C7-39EB-48F1-8BCF-C7A6463E06F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395456" y="5220177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12</a:t>
            </a:r>
          </a:p>
        </p:txBody>
      </p:sp>
      <p:sp>
        <p:nvSpPr>
          <p:cNvPr id="53" name="Textplatzhalter 3">
            <a:extLst>
              <a:ext uri="{FF2B5EF4-FFF2-40B4-BE49-F238E27FC236}">
                <a16:creationId xmlns:a16="http://schemas.microsoft.com/office/drawing/2014/main" id="{B8671B6F-36F5-437C-B7DE-FE1569378B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395456" y="5588414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4" name="Textplatzhalter 3">
            <a:extLst>
              <a:ext uri="{FF2B5EF4-FFF2-40B4-BE49-F238E27FC236}">
                <a16:creationId xmlns:a16="http://schemas.microsoft.com/office/drawing/2014/main" id="{A6916979-97D0-4ACF-97AE-FD60BCA3C172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973160" y="1700213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55" name="Textplatzhalter 3">
            <a:extLst>
              <a:ext uri="{FF2B5EF4-FFF2-40B4-BE49-F238E27FC236}">
                <a16:creationId xmlns:a16="http://schemas.microsoft.com/office/drawing/2014/main" id="{B9B7F53E-4F96-40D1-9381-96644411710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973160" y="2022635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5</a:t>
            </a:r>
          </a:p>
        </p:txBody>
      </p:sp>
      <p:sp>
        <p:nvSpPr>
          <p:cNvPr id="56" name="Textplatzhalter 3">
            <a:extLst>
              <a:ext uri="{FF2B5EF4-FFF2-40B4-BE49-F238E27FC236}">
                <a16:creationId xmlns:a16="http://schemas.microsoft.com/office/drawing/2014/main" id="{14FB1D66-D15A-4825-8883-755F01BA7595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3973160" y="2390872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7" name="Textplatzhalter 3">
            <a:extLst>
              <a:ext uri="{FF2B5EF4-FFF2-40B4-BE49-F238E27FC236}">
                <a16:creationId xmlns:a16="http://schemas.microsoft.com/office/drawing/2014/main" id="{BC7E7470-7768-445D-B75F-3311F9C56C4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395456" y="1700213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58" name="Textplatzhalter 3">
            <a:extLst>
              <a:ext uri="{FF2B5EF4-FFF2-40B4-BE49-F238E27FC236}">
                <a16:creationId xmlns:a16="http://schemas.microsoft.com/office/drawing/2014/main" id="{E201FB22-3385-45D1-8A4C-AA30C0A901C3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395456" y="2022635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9</a:t>
            </a:r>
          </a:p>
        </p:txBody>
      </p:sp>
      <p:sp>
        <p:nvSpPr>
          <p:cNvPr id="59" name="Textplatzhalter 3">
            <a:extLst>
              <a:ext uri="{FF2B5EF4-FFF2-40B4-BE49-F238E27FC236}">
                <a16:creationId xmlns:a16="http://schemas.microsoft.com/office/drawing/2014/main" id="{8FC314C2-204E-4BB5-8FCA-55C1CD3C7251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395456" y="2390872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60" name="Textplatzhalter 3">
            <a:extLst>
              <a:ext uri="{FF2B5EF4-FFF2-40B4-BE49-F238E27FC236}">
                <a16:creationId xmlns:a16="http://schemas.microsoft.com/office/drawing/2014/main" id="{BB6244DF-CA77-44DE-B7EA-E2785BC4A80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50860" y="2766060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61" name="Textplatzhalter 3">
            <a:extLst>
              <a:ext uri="{FF2B5EF4-FFF2-40B4-BE49-F238E27FC236}">
                <a16:creationId xmlns:a16="http://schemas.microsoft.com/office/drawing/2014/main" id="{C54E7310-756C-4F78-9435-281CABF59C0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50860" y="3088482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2</a:t>
            </a:r>
          </a:p>
        </p:txBody>
      </p:sp>
      <p:sp>
        <p:nvSpPr>
          <p:cNvPr id="62" name="Textplatzhalter 3">
            <a:extLst>
              <a:ext uri="{FF2B5EF4-FFF2-40B4-BE49-F238E27FC236}">
                <a16:creationId xmlns:a16="http://schemas.microsoft.com/office/drawing/2014/main" id="{CB310BE0-7294-44E4-AA6F-EE045BC252F9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47721" y="3456719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63" name="Textplatzhalter 3">
            <a:extLst>
              <a:ext uri="{FF2B5EF4-FFF2-40B4-BE49-F238E27FC236}">
                <a16:creationId xmlns:a16="http://schemas.microsoft.com/office/drawing/2014/main" id="{F8E435ED-FB83-4C1F-87D5-715D0B95613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550860" y="3831907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64" name="Textplatzhalter 3">
            <a:extLst>
              <a:ext uri="{FF2B5EF4-FFF2-40B4-BE49-F238E27FC236}">
                <a16:creationId xmlns:a16="http://schemas.microsoft.com/office/drawing/2014/main" id="{B135DC37-5469-4E2B-81A3-659FC42D05F0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50860" y="4154329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3</a:t>
            </a:r>
          </a:p>
        </p:txBody>
      </p:sp>
      <p:sp>
        <p:nvSpPr>
          <p:cNvPr id="65" name="Textplatzhalter 3">
            <a:extLst>
              <a:ext uri="{FF2B5EF4-FFF2-40B4-BE49-F238E27FC236}">
                <a16:creationId xmlns:a16="http://schemas.microsoft.com/office/drawing/2014/main" id="{A4D78715-C2AC-4B79-BF84-F268607EC2B7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547721" y="4522566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66" name="Textplatzhalter 3">
            <a:extLst>
              <a:ext uri="{FF2B5EF4-FFF2-40B4-BE49-F238E27FC236}">
                <a16:creationId xmlns:a16="http://schemas.microsoft.com/office/drawing/2014/main" id="{61C2E96C-E02E-4FE7-AE7E-FE385A35EAF8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973160" y="2766060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67" name="Textplatzhalter 3">
            <a:extLst>
              <a:ext uri="{FF2B5EF4-FFF2-40B4-BE49-F238E27FC236}">
                <a16:creationId xmlns:a16="http://schemas.microsoft.com/office/drawing/2014/main" id="{B59F9B95-2C7F-4982-9C10-B52CDA984CB7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973160" y="3088482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6</a:t>
            </a:r>
          </a:p>
        </p:txBody>
      </p:sp>
      <p:sp>
        <p:nvSpPr>
          <p:cNvPr id="105" name="Textplatzhalter 3">
            <a:extLst>
              <a:ext uri="{FF2B5EF4-FFF2-40B4-BE49-F238E27FC236}">
                <a16:creationId xmlns:a16="http://schemas.microsoft.com/office/drawing/2014/main" id="{4E1058C0-0F3F-4E7F-B468-AB91E89BCE86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3973160" y="3456719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6" name="Textplatzhalter 3">
            <a:extLst>
              <a:ext uri="{FF2B5EF4-FFF2-40B4-BE49-F238E27FC236}">
                <a16:creationId xmlns:a16="http://schemas.microsoft.com/office/drawing/2014/main" id="{B5F75FC0-195C-447B-87A0-FF8568298EC6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3973160" y="3831907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107" name="Textplatzhalter 3">
            <a:extLst>
              <a:ext uri="{FF2B5EF4-FFF2-40B4-BE49-F238E27FC236}">
                <a16:creationId xmlns:a16="http://schemas.microsoft.com/office/drawing/2014/main" id="{5048C232-FA01-4578-827F-296A5F9FB871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3973160" y="4154329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7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0B33891-8696-46C8-AB90-4A484311CCA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8" name="Textplatzhalter 3">
            <a:extLst>
              <a:ext uri="{FF2B5EF4-FFF2-40B4-BE49-F238E27FC236}">
                <a16:creationId xmlns:a16="http://schemas.microsoft.com/office/drawing/2014/main" id="{33DF590D-98BE-4442-A404-2F173B90F844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973160" y="4522566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9" name="Textplatzhalter 3">
            <a:extLst>
              <a:ext uri="{FF2B5EF4-FFF2-40B4-BE49-F238E27FC236}">
                <a16:creationId xmlns:a16="http://schemas.microsoft.com/office/drawing/2014/main" id="{E146728B-C1CC-4A26-975E-1F80C0EEB1FA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7395456" y="2766060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110" name="Textplatzhalter 3">
            <a:extLst>
              <a:ext uri="{FF2B5EF4-FFF2-40B4-BE49-F238E27FC236}">
                <a16:creationId xmlns:a16="http://schemas.microsoft.com/office/drawing/2014/main" id="{FE3599FC-F229-408A-B27F-DA32F839CF4F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7395456" y="3088482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10</a:t>
            </a:r>
          </a:p>
        </p:txBody>
      </p:sp>
      <p:sp>
        <p:nvSpPr>
          <p:cNvPr id="111" name="Textplatzhalter 3">
            <a:extLst>
              <a:ext uri="{FF2B5EF4-FFF2-40B4-BE49-F238E27FC236}">
                <a16:creationId xmlns:a16="http://schemas.microsoft.com/office/drawing/2014/main" id="{EB3AB6FF-941F-41F2-9B5D-7980D4D9E565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7395456" y="3456719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12" name="Textplatzhalter 3">
            <a:extLst>
              <a:ext uri="{FF2B5EF4-FFF2-40B4-BE49-F238E27FC236}">
                <a16:creationId xmlns:a16="http://schemas.microsoft.com/office/drawing/2014/main" id="{B93D6E89-014A-4D33-A463-CE2581CA5769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7395456" y="3831907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113" name="Textplatzhalter 3">
            <a:extLst>
              <a:ext uri="{FF2B5EF4-FFF2-40B4-BE49-F238E27FC236}">
                <a16:creationId xmlns:a16="http://schemas.microsoft.com/office/drawing/2014/main" id="{A078146D-1AA4-4540-A14F-27984D722C60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7395456" y="4154329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11</a:t>
            </a:r>
          </a:p>
        </p:txBody>
      </p:sp>
      <p:sp>
        <p:nvSpPr>
          <p:cNvPr id="114" name="Textplatzhalter 3">
            <a:extLst>
              <a:ext uri="{FF2B5EF4-FFF2-40B4-BE49-F238E27FC236}">
                <a16:creationId xmlns:a16="http://schemas.microsoft.com/office/drawing/2014/main" id="{639AF660-0769-4FFF-9578-34F78B453FC5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7395456" y="4522566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88EE862-7DA8-42B1-A8EE-C0D31A8FA77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1" y="864084"/>
            <a:ext cx="11088000" cy="26583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/>
            </a:lvl1pPr>
          </a:lstStyle>
          <a:p>
            <a:pPr lvl="0"/>
            <a:r>
              <a:rPr lang="de-DE" dirty="0"/>
              <a:t>Überflüssige </a:t>
            </a:r>
            <a:r>
              <a:rPr lang="de-DE" dirty="0" err="1"/>
              <a:t>Agendapunkte</a:t>
            </a:r>
            <a:r>
              <a:rPr lang="de-DE" dirty="0"/>
              <a:t> löschen</a:t>
            </a:r>
          </a:p>
        </p:txBody>
      </p:sp>
      <p:sp>
        <p:nvSpPr>
          <p:cNvPr id="104" name="Titel 103">
            <a:extLst>
              <a:ext uri="{FF2B5EF4-FFF2-40B4-BE49-F238E27FC236}">
                <a16:creationId xmlns:a16="http://schemas.microsoft.com/office/drawing/2014/main" id="{C98E9493-1F8B-4FBF-92CD-FD88C8614C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dirty="0"/>
              <a:t>Agenda mit 12 </a:t>
            </a:r>
            <a:r>
              <a:rPr lang="de-DE" dirty="0" err="1"/>
              <a:t>Agendapunk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93038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7">
            <a:extLst>
              <a:ext uri="{FF2B5EF4-FFF2-40B4-BE49-F238E27FC236}">
                <a16:creationId xmlns:a16="http://schemas.microsoft.com/office/drawing/2014/main" id="{F1F9F7F3-E297-488C-9180-98A0D20708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00" y="1414800"/>
            <a:ext cx="11088000" cy="441323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927BCB5-D84A-4FFF-9BFA-72F31766E3E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906BC7D-FDBC-4717-AFE2-35AF248D4E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1" y="864084"/>
            <a:ext cx="11088000" cy="26583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/>
            </a:lvl1pPr>
          </a:lstStyle>
          <a:p>
            <a:pPr lvl="0"/>
            <a:r>
              <a:rPr lang="de-DE" dirty="0"/>
              <a:t>Untertitel, optional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24B6441E-853A-40CB-82EE-6D02E85650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00" y="5828031"/>
            <a:ext cx="11088000" cy="265834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800" b="0"/>
            </a:lvl1pPr>
          </a:lstStyle>
          <a:p>
            <a:pPr lvl="0"/>
            <a:r>
              <a:rPr lang="de-DE" dirty="0"/>
              <a:t>Quellenangabe: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54EE93F-0761-45C0-94F2-7FB72E74DE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dirty="0"/>
              <a:t>Textfolie</a:t>
            </a:r>
          </a:p>
        </p:txBody>
      </p:sp>
    </p:spTree>
    <p:extLst>
      <p:ext uri="{BB962C8B-B14F-4D97-AF65-F5344CB8AC3E}">
        <p14:creationId xmlns:p14="http://schemas.microsoft.com/office/powerpoint/2010/main" val="16330535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_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927BCB5-D84A-4FFF-9BFA-72F31766E3E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CF950356-6C3B-4247-94DC-A7624BC7E53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50800" y="1414799"/>
            <a:ext cx="5364225" cy="441323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DAD89AB9-E414-4619-ACC3-36F954C2726C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74636" y="1414799"/>
            <a:ext cx="5364225" cy="441323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F7C1B1C2-C07C-4168-A540-C144876FBE8E}"/>
              </a:ext>
            </a:extLst>
          </p:cNvPr>
          <p:cNvCxnSpPr>
            <a:cxnSpLocks/>
          </p:cNvCxnSpPr>
          <p:nvPr userDrawn="1"/>
        </p:nvCxnSpPr>
        <p:spPr>
          <a:xfrm flipV="1">
            <a:off x="5916612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7AA13208-E29B-4E70-8A82-79F8D3D46118}"/>
              </a:ext>
            </a:extLst>
          </p:cNvPr>
          <p:cNvSpPr txBox="1"/>
          <p:nvPr userDrawn="1"/>
        </p:nvSpPr>
        <p:spPr>
          <a:xfrm>
            <a:off x="5522912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0,50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915066E9-296C-4BC9-88E9-502A79729C95}"/>
              </a:ext>
            </a:extLst>
          </p:cNvPr>
          <p:cNvCxnSpPr>
            <a:cxnSpLocks/>
          </p:cNvCxnSpPr>
          <p:nvPr userDrawn="1"/>
        </p:nvCxnSpPr>
        <p:spPr>
          <a:xfrm flipV="1">
            <a:off x="6273801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3891BDBC-96EB-47F4-9D82-B6566A4E5112}"/>
              </a:ext>
            </a:extLst>
          </p:cNvPr>
          <p:cNvSpPr txBox="1"/>
          <p:nvPr userDrawn="1"/>
        </p:nvSpPr>
        <p:spPr>
          <a:xfrm>
            <a:off x="6407150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0,50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C39039E1-AA99-45F6-9656-70C2B23A26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1" y="864084"/>
            <a:ext cx="11088000" cy="26583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/>
            </a:lvl1pPr>
          </a:lstStyle>
          <a:p>
            <a:pPr lvl="0"/>
            <a:r>
              <a:rPr lang="de-DE" dirty="0"/>
              <a:t>Untertitel,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726C2D1-5259-462C-90C5-E59A85427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dirty="0"/>
              <a:t>Inhaltsfolie, zweispaltig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6A0741AD-DE4C-47A0-ACC1-A2B0CD9B015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00" y="5828031"/>
            <a:ext cx="11088000" cy="265834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800" b="0"/>
            </a:lvl1pPr>
          </a:lstStyle>
          <a:p>
            <a:pPr lvl="0"/>
            <a:r>
              <a:rPr lang="de-DE" dirty="0"/>
              <a:t>Quellenangabe: optional</a:t>
            </a:r>
          </a:p>
        </p:txBody>
      </p:sp>
    </p:spTree>
    <p:extLst>
      <p:ext uri="{BB962C8B-B14F-4D97-AF65-F5344CB8AC3E}">
        <p14:creationId xmlns:p14="http://schemas.microsoft.com/office/powerpoint/2010/main" val="197050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_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927BCB5-D84A-4FFF-9BFA-72F31766E3E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CF950356-6C3B-4247-94DC-A7624BC7E53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50800" y="1414800"/>
            <a:ext cx="3456000" cy="44136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3E955CF4-55B4-41C0-82E7-8560014F5E21}"/>
              </a:ext>
            </a:extLst>
          </p:cNvPr>
          <p:cNvCxnSpPr>
            <a:cxnSpLocks/>
          </p:cNvCxnSpPr>
          <p:nvPr userDrawn="1"/>
        </p:nvCxnSpPr>
        <p:spPr>
          <a:xfrm flipV="1">
            <a:off x="4007863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1D4F73F6-E51A-444F-B1AA-C0B5B973FCD1}"/>
              </a:ext>
            </a:extLst>
          </p:cNvPr>
          <p:cNvSpPr txBox="1"/>
          <p:nvPr userDrawn="1"/>
        </p:nvSpPr>
        <p:spPr>
          <a:xfrm>
            <a:off x="3614163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5,80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0C5821D-1D0B-43B7-A0C6-1AE1A4A94582}"/>
              </a:ext>
            </a:extLst>
          </p:cNvPr>
          <p:cNvCxnSpPr>
            <a:cxnSpLocks/>
          </p:cNvCxnSpPr>
          <p:nvPr userDrawn="1"/>
        </p:nvCxnSpPr>
        <p:spPr>
          <a:xfrm flipV="1">
            <a:off x="4365052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BBE8C48-D489-47B9-A170-2C20AC26CE02}"/>
              </a:ext>
            </a:extLst>
          </p:cNvPr>
          <p:cNvSpPr txBox="1"/>
          <p:nvPr userDrawn="1"/>
        </p:nvSpPr>
        <p:spPr>
          <a:xfrm>
            <a:off x="4498401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4,80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174BFD1-BD41-4B50-BB2A-5B12764193BB}"/>
              </a:ext>
            </a:extLst>
          </p:cNvPr>
          <p:cNvCxnSpPr>
            <a:cxnSpLocks/>
          </p:cNvCxnSpPr>
          <p:nvPr userDrawn="1"/>
        </p:nvCxnSpPr>
        <p:spPr>
          <a:xfrm flipV="1">
            <a:off x="7825009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2500CD02-A9A0-48E8-BFC6-B323FC724960}"/>
              </a:ext>
            </a:extLst>
          </p:cNvPr>
          <p:cNvSpPr txBox="1"/>
          <p:nvPr userDrawn="1"/>
        </p:nvSpPr>
        <p:spPr>
          <a:xfrm>
            <a:off x="7431309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4,80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06F1E02A-7C4B-4AB2-888E-02784C18C103}"/>
              </a:ext>
            </a:extLst>
          </p:cNvPr>
          <p:cNvCxnSpPr>
            <a:cxnSpLocks/>
          </p:cNvCxnSpPr>
          <p:nvPr userDrawn="1"/>
        </p:nvCxnSpPr>
        <p:spPr>
          <a:xfrm flipV="1">
            <a:off x="8182198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AF1CB8B2-FAF9-4F04-A32D-FA30E82FA119}"/>
              </a:ext>
            </a:extLst>
          </p:cNvPr>
          <p:cNvSpPr txBox="1"/>
          <p:nvPr userDrawn="1"/>
        </p:nvSpPr>
        <p:spPr>
          <a:xfrm>
            <a:off x="8315547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5,80</a:t>
            </a:r>
          </a:p>
        </p:txBody>
      </p:sp>
      <p:sp>
        <p:nvSpPr>
          <p:cNvPr id="21" name="Inhaltsplatzhalter 4">
            <a:extLst>
              <a:ext uri="{FF2B5EF4-FFF2-40B4-BE49-F238E27FC236}">
                <a16:creationId xmlns:a16="http://schemas.microsoft.com/office/drawing/2014/main" id="{67B77DFB-E7E1-49D6-9DEC-4E9A650A2F4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366831" y="1414800"/>
            <a:ext cx="3456000" cy="44136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2" name="Inhaltsplatzhalter 4">
            <a:extLst>
              <a:ext uri="{FF2B5EF4-FFF2-40B4-BE49-F238E27FC236}">
                <a16:creationId xmlns:a16="http://schemas.microsoft.com/office/drawing/2014/main" id="{B0BEE877-F4CF-4B2D-B338-06B30C9C2AB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182861" y="1414800"/>
            <a:ext cx="3456000" cy="44136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DAC6A7FF-6BA2-4C98-9A4D-E9B04C57FF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1" y="864084"/>
            <a:ext cx="11088000" cy="26583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/>
            </a:lvl1pPr>
          </a:lstStyle>
          <a:p>
            <a:pPr lvl="0"/>
            <a:r>
              <a:rPr lang="de-DE" dirty="0"/>
              <a:t>Untertitel,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21FE69-C171-47F5-9D7A-8F2E85637E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dirty="0"/>
              <a:t>Inhaltsfolie, dreispaltig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0BE647FB-F8CD-408C-9CBF-008B04BBF4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00" y="5828031"/>
            <a:ext cx="11088000" cy="265834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800" b="0"/>
            </a:lvl1pPr>
          </a:lstStyle>
          <a:p>
            <a:pPr lvl="0"/>
            <a:r>
              <a:rPr lang="de-DE" dirty="0"/>
              <a:t>Quellenangabe: optional</a:t>
            </a:r>
          </a:p>
        </p:txBody>
      </p:sp>
    </p:spTree>
    <p:extLst>
      <p:ext uri="{BB962C8B-B14F-4D97-AF65-F5344CB8AC3E}">
        <p14:creationId xmlns:p14="http://schemas.microsoft.com/office/powerpoint/2010/main" val="4124328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25" userDrawn="1">
          <p15:clr>
            <a:srgbClr val="FBAE40"/>
          </p15:clr>
        </p15:guide>
        <p15:guide id="3" pos="2751" userDrawn="1">
          <p15:clr>
            <a:srgbClr val="FBAE40"/>
          </p15:clr>
        </p15:guide>
        <p15:guide id="4" pos="4929" userDrawn="1">
          <p15:clr>
            <a:srgbClr val="FBAE40"/>
          </p15:clr>
        </p15:guide>
        <p15:guide id="5" pos="5155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1B76EBF-D78F-474C-935F-52F14B4597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40AEF3B9-58D6-437C-95A3-F5FE2C54075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857999" cy="6857999"/>
          </a:xfrm>
          <a:custGeom>
            <a:avLst/>
            <a:gdLst>
              <a:gd name="connsiteX0" fmla="*/ 4589999 w 6857999"/>
              <a:gd name="connsiteY0" fmla="*/ 4590000 h 6857999"/>
              <a:gd name="connsiteX1" fmla="*/ 6857999 w 6857999"/>
              <a:gd name="connsiteY1" fmla="*/ 4590000 h 6857999"/>
              <a:gd name="connsiteX2" fmla="*/ 6857999 w 6857999"/>
              <a:gd name="connsiteY2" fmla="*/ 6857999 h 6857999"/>
              <a:gd name="connsiteX3" fmla="*/ 4589999 w 6857999"/>
              <a:gd name="connsiteY3" fmla="*/ 6857999 h 6857999"/>
              <a:gd name="connsiteX4" fmla="*/ 2304000 w 6857999"/>
              <a:gd name="connsiteY4" fmla="*/ 4590000 h 6857999"/>
              <a:gd name="connsiteX5" fmla="*/ 4553999 w 6857999"/>
              <a:gd name="connsiteY5" fmla="*/ 4590000 h 6857999"/>
              <a:gd name="connsiteX6" fmla="*/ 4553999 w 6857999"/>
              <a:gd name="connsiteY6" fmla="*/ 6857999 h 6857999"/>
              <a:gd name="connsiteX7" fmla="*/ 2304000 w 6857999"/>
              <a:gd name="connsiteY7" fmla="*/ 6857999 h 6857999"/>
              <a:gd name="connsiteX8" fmla="*/ 2304000 w 6857999"/>
              <a:gd name="connsiteY8" fmla="*/ 2304000 h 6857999"/>
              <a:gd name="connsiteX9" fmla="*/ 4553999 w 6857999"/>
              <a:gd name="connsiteY9" fmla="*/ 2304000 h 6857999"/>
              <a:gd name="connsiteX10" fmla="*/ 4553999 w 6857999"/>
              <a:gd name="connsiteY10" fmla="*/ 4554000 h 6857999"/>
              <a:gd name="connsiteX11" fmla="*/ 2304000 w 6857999"/>
              <a:gd name="connsiteY11" fmla="*/ 4554000 h 6857999"/>
              <a:gd name="connsiteX12" fmla="*/ 0 w 6857999"/>
              <a:gd name="connsiteY12" fmla="*/ 2304000 h 6857999"/>
              <a:gd name="connsiteX13" fmla="*/ 2268000 w 6857999"/>
              <a:gd name="connsiteY13" fmla="*/ 2304000 h 6857999"/>
              <a:gd name="connsiteX14" fmla="*/ 2268000 w 6857999"/>
              <a:gd name="connsiteY14" fmla="*/ 4554000 h 6857999"/>
              <a:gd name="connsiteX15" fmla="*/ 0 w 6857999"/>
              <a:gd name="connsiteY15" fmla="*/ 4554000 h 6857999"/>
              <a:gd name="connsiteX16" fmla="*/ 4589999 w 6857999"/>
              <a:gd name="connsiteY16" fmla="*/ 0 h 6857999"/>
              <a:gd name="connsiteX17" fmla="*/ 6857999 w 6857999"/>
              <a:gd name="connsiteY17" fmla="*/ 0 h 6857999"/>
              <a:gd name="connsiteX18" fmla="*/ 6857999 w 6857999"/>
              <a:gd name="connsiteY18" fmla="*/ 2268000 h 6857999"/>
              <a:gd name="connsiteX19" fmla="*/ 4589999 w 6857999"/>
              <a:gd name="connsiteY19" fmla="*/ 2268000 h 6857999"/>
              <a:gd name="connsiteX20" fmla="*/ 0 w 6857999"/>
              <a:gd name="connsiteY20" fmla="*/ 0 h 6857999"/>
              <a:gd name="connsiteX21" fmla="*/ 2268000 w 6857999"/>
              <a:gd name="connsiteY21" fmla="*/ 0 h 6857999"/>
              <a:gd name="connsiteX22" fmla="*/ 2268000 w 6857999"/>
              <a:gd name="connsiteY22" fmla="*/ 2268000 h 6857999"/>
              <a:gd name="connsiteX23" fmla="*/ 0 w 6857999"/>
              <a:gd name="connsiteY23" fmla="*/ 226800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857999" h="6857999">
                <a:moveTo>
                  <a:pt x="4589999" y="4590000"/>
                </a:moveTo>
                <a:lnTo>
                  <a:pt x="6857999" y="4590000"/>
                </a:lnTo>
                <a:lnTo>
                  <a:pt x="6857999" y="6857999"/>
                </a:lnTo>
                <a:lnTo>
                  <a:pt x="4589999" y="6857999"/>
                </a:lnTo>
                <a:close/>
                <a:moveTo>
                  <a:pt x="2304000" y="4590000"/>
                </a:moveTo>
                <a:lnTo>
                  <a:pt x="4553999" y="4590000"/>
                </a:lnTo>
                <a:lnTo>
                  <a:pt x="4553999" y="6857999"/>
                </a:lnTo>
                <a:lnTo>
                  <a:pt x="2304000" y="6857999"/>
                </a:lnTo>
                <a:close/>
                <a:moveTo>
                  <a:pt x="2304000" y="2304000"/>
                </a:moveTo>
                <a:lnTo>
                  <a:pt x="4553999" y="2304000"/>
                </a:lnTo>
                <a:lnTo>
                  <a:pt x="4553999" y="4554000"/>
                </a:lnTo>
                <a:lnTo>
                  <a:pt x="2304000" y="4554000"/>
                </a:lnTo>
                <a:close/>
                <a:moveTo>
                  <a:pt x="0" y="2304000"/>
                </a:moveTo>
                <a:lnTo>
                  <a:pt x="2268000" y="2304000"/>
                </a:lnTo>
                <a:lnTo>
                  <a:pt x="2268000" y="4554000"/>
                </a:lnTo>
                <a:lnTo>
                  <a:pt x="0" y="4554000"/>
                </a:lnTo>
                <a:close/>
                <a:moveTo>
                  <a:pt x="4589999" y="0"/>
                </a:moveTo>
                <a:lnTo>
                  <a:pt x="6857999" y="0"/>
                </a:lnTo>
                <a:lnTo>
                  <a:pt x="6857999" y="2268000"/>
                </a:lnTo>
                <a:lnTo>
                  <a:pt x="4589999" y="2268000"/>
                </a:lnTo>
                <a:close/>
                <a:moveTo>
                  <a:pt x="0" y="0"/>
                </a:moveTo>
                <a:lnTo>
                  <a:pt x="2268000" y="0"/>
                </a:lnTo>
                <a:lnTo>
                  <a:pt x="2268000" y="2268000"/>
                </a:lnTo>
                <a:lnTo>
                  <a:pt x="0" y="2268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CD47075-0358-4B04-9C36-E858BC245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8800" y="2995612"/>
            <a:ext cx="4410000" cy="1047600"/>
          </a:xfrm>
        </p:spPr>
        <p:txBody>
          <a:bodyPr anchor="ctr"/>
          <a:lstStyle>
            <a:lvl1pPr>
              <a:defRPr sz="2800" b="0">
                <a:latin typeface="+mn-lt"/>
              </a:defRPr>
            </a:lvl1pPr>
          </a:lstStyle>
          <a:p>
            <a:r>
              <a:rPr lang="de-DE" dirty="0" err="1"/>
              <a:t>Kapiteltrenner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/>
              <a:t>zweizeilig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C9B8823-700E-48B3-92FE-AD429CECB5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400" y="2900362"/>
            <a:ext cx="2005200" cy="1047813"/>
          </a:xfrm>
        </p:spPr>
        <p:txBody>
          <a:bodyPr anchor="ctr"/>
          <a:lstStyle>
            <a:lvl1pPr marL="0" indent="0" algn="r">
              <a:buNone/>
              <a:defRPr sz="8800" b="1">
                <a:latin typeface="+mj-lt"/>
              </a:defRPr>
            </a:lvl1pPr>
          </a:lstStyle>
          <a:p>
            <a:pPr lvl="0"/>
            <a:r>
              <a:rPr lang="de-DE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3959531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(1/3)_Bild (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927BCB5-D84A-4FFF-9BFA-72F31766E3E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6C251973-09F0-4471-A030-9A113EAE4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4007863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5AE0CD3D-9D24-4B29-96AA-494E232EEE2E}"/>
              </a:ext>
            </a:extLst>
          </p:cNvPr>
          <p:cNvSpPr txBox="1"/>
          <p:nvPr userDrawn="1"/>
        </p:nvSpPr>
        <p:spPr>
          <a:xfrm>
            <a:off x="3614163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5,80</a:t>
            </a:r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80B5222D-A28F-43CC-9A96-F2D5B9B67AF9}"/>
              </a:ext>
            </a:extLst>
          </p:cNvPr>
          <p:cNvCxnSpPr>
            <a:cxnSpLocks/>
          </p:cNvCxnSpPr>
          <p:nvPr userDrawn="1"/>
        </p:nvCxnSpPr>
        <p:spPr>
          <a:xfrm flipV="1">
            <a:off x="4365052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3B89F4FF-D54A-48BB-B2D9-C2241DDF2CD0}"/>
              </a:ext>
            </a:extLst>
          </p:cNvPr>
          <p:cNvSpPr txBox="1"/>
          <p:nvPr userDrawn="1"/>
        </p:nvSpPr>
        <p:spPr>
          <a:xfrm>
            <a:off x="4498401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4,80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F49201FD-18D7-4458-89D6-DF3FF8EF931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00" y="5828031"/>
            <a:ext cx="11088000" cy="265834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800" b="0"/>
            </a:lvl1pPr>
          </a:lstStyle>
          <a:p>
            <a:pPr lvl="0"/>
            <a:r>
              <a:rPr lang="de-DE" dirty="0"/>
              <a:t>Quellenangabe: optional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B9AA5AC1-D878-462C-B026-2C6EDADDD8C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67213" y="1414800"/>
            <a:ext cx="7824786" cy="4413600"/>
          </a:xfrm>
          <a:solidFill>
            <a:schemeClr val="accent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Inhaltsplatzhalter 4">
            <a:extLst>
              <a:ext uri="{FF2B5EF4-FFF2-40B4-BE49-F238E27FC236}">
                <a16:creationId xmlns:a16="http://schemas.microsoft.com/office/drawing/2014/main" id="{B5DA39C5-3FF4-4252-A63C-336076E48FB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50801" y="1414800"/>
            <a:ext cx="3456000" cy="44136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F550D7D9-DC9F-4656-BA24-B341B92E49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1" y="864084"/>
            <a:ext cx="11088000" cy="26583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/>
            </a:lvl1pPr>
          </a:lstStyle>
          <a:p>
            <a:pPr lvl="0"/>
            <a:r>
              <a:rPr lang="de-DE" dirty="0"/>
              <a:t>Untertitel,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B138F73-8805-45B0-B5F3-713B56BDE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dirty="0" err="1"/>
              <a:t>Inhalt_Bi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8393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 userDrawn="1">
          <p15:clr>
            <a:srgbClr val="FBAE40"/>
          </p15:clr>
        </p15:guide>
        <p15:guide id="2" pos="252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(2/3)_Inhalt (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927BCB5-D84A-4FFF-9BFA-72F31766E3E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Inhaltsplatzhalter 4">
            <a:extLst>
              <a:ext uri="{FF2B5EF4-FFF2-40B4-BE49-F238E27FC236}">
                <a16:creationId xmlns:a16="http://schemas.microsoft.com/office/drawing/2014/main" id="{B5DA39C5-3FF4-4252-A63C-336076E48FB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182861" y="1414800"/>
            <a:ext cx="3456000" cy="44136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B9AA5AC1-D878-462C-B026-2C6EDADDD8C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1414800"/>
            <a:ext cx="7824786" cy="4413600"/>
          </a:xfrm>
          <a:solidFill>
            <a:schemeClr val="accent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C6DBF0F6-4B87-4F7D-ABC3-E33CEB8BF29D}"/>
              </a:ext>
            </a:extLst>
          </p:cNvPr>
          <p:cNvCxnSpPr>
            <a:cxnSpLocks/>
          </p:cNvCxnSpPr>
          <p:nvPr userDrawn="1"/>
        </p:nvCxnSpPr>
        <p:spPr>
          <a:xfrm flipV="1">
            <a:off x="7825009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EC0CF42F-B9E1-4E2B-8229-780B5EE48798}"/>
              </a:ext>
            </a:extLst>
          </p:cNvPr>
          <p:cNvSpPr txBox="1"/>
          <p:nvPr userDrawn="1"/>
        </p:nvSpPr>
        <p:spPr>
          <a:xfrm>
            <a:off x="7431309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4,80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41F6503C-7B26-40CF-821B-4762A289A74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82198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091BFE3F-69CD-4AF1-86DD-8DA35C7550A9}"/>
              </a:ext>
            </a:extLst>
          </p:cNvPr>
          <p:cNvSpPr txBox="1"/>
          <p:nvPr userDrawn="1"/>
        </p:nvSpPr>
        <p:spPr>
          <a:xfrm>
            <a:off x="8315547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5,80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39E3E6A2-A870-4316-A75A-A1D1864E9D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1" y="864084"/>
            <a:ext cx="11088000" cy="26583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/>
            </a:lvl1pPr>
          </a:lstStyle>
          <a:p>
            <a:pPr lvl="0"/>
            <a:r>
              <a:rPr lang="de-DE" dirty="0"/>
              <a:t>Untertitel,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C287C18-301F-4464-89BE-6E72158933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dirty="0" err="1"/>
              <a:t>Bild_Inhalt</a:t>
            </a:r>
            <a:endParaRPr lang="de-DE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358AA9DF-00C3-40F9-9266-6D50BE9A7E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00" y="5828031"/>
            <a:ext cx="11088000" cy="265834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800" b="0"/>
            </a:lvl1pPr>
          </a:lstStyle>
          <a:p>
            <a:pPr lvl="0"/>
            <a:r>
              <a:rPr lang="de-DE" dirty="0"/>
              <a:t>Quellenangabe: optional</a:t>
            </a:r>
          </a:p>
        </p:txBody>
      </p:sp>
    </p:spTree>
    <p:extLst>
      <p:ext uri="{BB962C8B-B14F-4D97-AF65-F5344CB8AC3E}">
        <p14:creationId xmlns:p14="http://schemas.microsoft.com/office/powerpoint/2010/main" val="695597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55" userDrawn="1">
          <p15:clr>
            <a:srgbClr val="FBAE40"/>
          </p15:clr>
        </p15:guide>
        <p15:guide id="2" pos="492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(2x)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74E0617-0181-4853-9638-9704439B38F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83563" y="0"/>
            <a:ext cx="4008436" cy="6857999"/>
          </a:xfrm>
          <a:solidFill>
            <a:schemeClr val="accent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927BCB5-D84A-4FFF-9BFA-72F31766E3E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CF950356-6C3B-4247-94DC-A7624BC7E53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50800" y="1414800"/>
            <a:ext cx="3456000" cy="44136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3E955CF4-55B4-41C0-82E7-8560014F5E21}"/>
              </a:ext>
            </a:extLst>
          </p:cNvPr>
          <p:cNvCxnSpPr>
            <a:cxnSpLocks/>
          </p:cNvCxnSpPr>
          <p:nvPr userDrawn="1"/>
        </p:nvCxnSpPr>
        <p:spPr>
          <a:xfrm flipV="1">
            <a:off x="4007863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1D4F73F6-E51A-444F-B1AA-C0B5B973FCD1}"/>
              </a:ext>
            </a:extLst>
          </p:cNvPr>
          <p:cNvSpPr txBox="1"/>
          <p:nvPr userDrawn="1"/>
        </p:nvSpPr>
        <p:spPr>
          <a:xfrm>
            <a:off x="3614163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5,80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0C5821D-1D0B-43B7-A0C6-1AE1A4A94582}"/>
              </a:ext>
            </a:extLst>
          </p:cNvPr>
          <p:cNvCxnSpPr>
            <a:cxnSpLocks/>
          </p:cNvCxnSpPr>
          <p:nvPr userDrawn="1"/>
        </p:nvCxnSpPr>
        <p:spPr>
          <a:xfrm flipV="1">
            <a:off x="4365052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BBE8C48-D489-47B9-A170-2C20AC26CE02}"/>
              </a:ext>
            </a:extLst>
          </p:cNvPr>
          <p:cNvSpPr txBox="1"/>
          <p:nvPr userDrawn="1"/>
        </p:nvSpPr>
        <p:spPr>
          <a:xfrm>
            <a:off x="4498401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4,80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174BFD1-BD41-4B50-BB2A-5B12764193BB}"/>
              </a:ext>
            </a:extLst>
          </p:cNvPr>
          <p:cNvCxnSpPr>
            <a:cxnSpLocks/>
          </p:cNvCxnSpPr>
          <p:nvPr userDrawn="1"/>
        </p:nvCxnSpPr>
        <p:spPr>
          <a:xfrm flipV="1">
            <a:off x="7825009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2500CD02-A9A0-48E8-BFC6-B323FC724960}"/>
              </a:ext>
            </a:extLst>
          </p:cNvPr>
          <p:cNvSpPr txBox="1"/>
          <p:nvPr userDrawn="1"/>
        </p:nvSpPr>
        <p:spPr>
          <a:xfrm>
            <a:off x="7431309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4,80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06F1E02A-7C4B-4AB2-888E-02784C18C103}"/>
              </a:ext>
            </a:extLst>
          </p:cNvPr>
          <p:cNvCxnSpPr>
            <a:cxnSpLocks/>
          </p:cNvCxnSpPr>
          <p:nvPr userDrawn="1"/>
        </p:nvCxnSpPr>
        <p:spPr>
          <a:xfrm flipV="1">
            <a:off x="8182198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AF1CB8B2-FAF9-4F04-A32D-FA30E82FA119}"/>
              </a:ext>
            </a:extLst>
          </p:cNvPr>
          <p:cNvSpPr txBox="1"/>
          <p:nvPr userDrawn="1"/>
        </p:nvSpPr>
        <p:spPr>
          <a:xfrm>
            <a:off x="8315547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5,80</a:t>
            </a:r>
          </a:p>
        </p:txBody>
      </p:sp>
      <p:sp>
        <p:nvSpPr>
          <p:cNvPr id="21" name="Inhaltsplatzhalter 4">
            <a:extLst>
              <a:ext uri="{FF2B5EF4-FFF2-40B4-BE49-F238E27FC236}">
                <a16:creationId xmlns:a16="http://schemas.microsoft.com/office/drawing/2014/main" id="{67B77DFB-E7E1-49D6-9DEC-4E9A650A2F4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366831" y="1414800"/>
            <a:ext cx="3456000" cy="44136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56ABE43E-6BD7-4BEB-B19F-331CC8B8FB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1" y="864084"/>
            <a:ext cx="7271970" cy="26583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/>
            </a:lvl1pPr>
          </a:lstStyle>
          <a:p>
            <a:pPr lvl="0"/>
            <a:r>
              <a:rPr lang="de-DE" dirty="0"/>
              <a:t>Untertitel,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B7D3C4-EB5A-4D3B-8002-1D9070EEF0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dirty="0"/>
              <a:t>Inhalt (2)_Bild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19F5B2BC-337A-4419-8216-81F9AC0F884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00" y="5828031"/>
            <a:ext cx="7272000" cy="265834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800" b="0"/>
            </a:lvl1pPr>
          </a:lstStyle>
          <a:p>
            <a:pPr lvl="0"/>
            <a:r>
              <a:rPr lang="de-DE" dirty="0"/>
              <a:t>Quellenangabe: optional</a:t>
            </a:r>
          </a:p>
        </p:txBody>
      </p:sp>
    </p:spTree>
    <p:extLst>
      <p:ext uri="{BB962C8B-B14F-4D97-AF65-F5344CB8AC3E}">
        <p14:creationId xmlns:p14="http://schemas.microsoft.com/office/powerpoint/2010/main" val="2535501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29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5" Type="http://schemas.openxmlformats.org/officeDocument/2006/relationships/tags" Target="../tags/tag2.xml"/><Relationship Id="rId16" Type="http://schemas.openxmlformats.org/officeDocument/2006/relationships/oleObject" Target="../embeddings/oleObject1.bin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DFF45E0-A3BD-43AA-8C26-2ACC16E534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117982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501" imgH="501" progId="TCLayout.ActiveDocument.1">
                  <p:embed/>
                </p:oleObj>
              </mc:Choice>
              <mc:Fallback>
                <p:oleObj name="think-cell Folie" r:id="rId16" imgW="501" imgH="50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DFF45E0-A3BD-43AA-8C26-2ACC16E534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F627DCD4-0006-49BC-B1F9-A6F56658D11A}"/>
              </a:ext>
            </a:extLst>
          </p:cNvPr>
          <p:cNvCxnSpPr>
            <a:cxnSpLocks/>
          </p:cNvCxnSpPr>
          <p:nvPr userDrawn="1"/>
        </p:nvCxnSpPr>
        <p:spPr>
          <a:xfrm flipV="1">
            <a:off x="550863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51C6B29D-B6E6-49D6-9AA2-580E9CC1D2D5}"/>
              </a:ext>
            </a:extLst>
          </p:cNvPr>
          <p:cNvSpPr txBox="1"/>
          <p:nvPr userDrawn="1"/>
        </p:nvSpPr>
        <p:spPr>
          <a:xfrm>
            <a:off x="607219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15,40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B76AF0F8-EDED-4869-8EB7-8907E487D82A}"/>
              </a:ext>
            </a:extLst>
          </p:cNvPr>
          <p:cNvCxnSpPr>
            <a:cxnSpLocks/>
          </p:cNvCxnSpPr>
          <p:nvPr userDrawn="1"/>
        </p:nvCxnSpPr>
        <p:spPr>
          <a:xfrm>
            <a:off x="-292894" y="473868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69BF9A34-A384-45A6-A778-95E00EB94E42}"/>
              </a:ext>
            </a:extLst>
          </p:cNvPr>
          <p:cNvSpPr txBox="1"/>
          <p:nvPr userDrawn="1"/>
        </p:nvSpPr>
        <p:spPr>
          <a:xfrm>
            <a:off x="-566738" y="526256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8,20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6F2F176E-86B2-47CB-B4E0-DDA65D41F5D1}"/>
              </a:ext>
            </a:extLst>
          </p:cNvPr>
          <p:cNvCxnSpPr>
            <a:cxnSpLocks/>
          </p:cNvCxnSpPr>
          <p:nvPr userDrawn="1"/>
        </p:nvCxnSpPr>
        <p:spPr>
          <a:xfrm>
            <a:off x="-292894" y="800100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EA41DAA9-9025-41CA-8C8C-50A94AB72B0A}"/>
              </a:ext>
            </a:extLst>
          </p:cNvPr>
          <p:cNvSpPr txBox="1"/>
          <p:nvPr userDrawn="1"/>
        </p:nvSpPr>
        <p:spPr>
          <a:xfrm>
            <a:off x="-566738" y="852488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7,30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2B292CA8-F2D6-49B4-B5E9-2C52B610338D}"/>
              </a:ext>
            </a:extLst>
          </p:cNvPr>
          <p:cNvCxnSpPr>
            <a:cxnSpLocks/>
          </p:cNvCxnSpPr>
          <p:nvPr userDrawn="1"/>
        </p:nvCxnSpPr>
        <p:spPr>
          <a:xfrm flipV="1">
            <a:off x="11640345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3FA9F94C-AA31-494A-9E53-744CB810026E}"/>
              </a:ext>
            </a:extLst>
          </p:cNvPr>
          <p:cNvSpPr txBox="1"/>
          <p:nvPr userDrawn="1"/>
        </p:nvSpPr>
        <p:spPr>
          <a:xfrm>
            <a:off x="11696701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15,40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13B4BA-5B5D-4D92-9EBD-F6A66C547D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82" y="6348414"/>
            <a:ext cx="435768" cy="3337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 b="1">
                <a:solidFill>
                  <a:schemeClr val="tx1"/>
                </a:solidFill>
                <a:latin typeface="+mj-lt"/>
              </a:defRPr>
            </a:lvl1pPr>
          </a:lstStyle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3CE27FB7-E053-4598-9E6C-BCE006EB5884}"/>
              </a:ext>
            </a:extLst>
          </p:cNvPr>
          <p:cNvCxnSpPr>
            <a:cxnSpLocks/>
          </p:cNvCxnSpPr>
          <p:nvPr userDrawn="1"/>
        </p:nvCxnSpPr>
        <p:spPr>
          <a:xfrm>
            <a:off x="-292894" y="1412556"/>
            <a:ext cx="21272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5F51AA1E-F5BA-4796-8927-B6880778E557}"/>
              </a:ext>
            </a:extLst>
          </p:cNvPr>
          <p:cNvSpPr txBox="1"/>
          <p:nvPr userDrawn="1"/>
        </p:nvSpPr>
        <p:spPr>
          <a:xfrm>
            <a:off x="-566738" y="1464944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5,60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9741530E-D345-47FD-A6B2-0EA9FEEB3ACD}"/>
              </a:ext>
            </a:extLst>
          </p:cNvPr>
          <p:cNvCxnSpPr>
            <a:cxnSpLocks/>
          </p:cNvCxnSpPr>
          <p:nvPr userDrawn="1"/>
        </p:nvCxnSpPr>
        <p:spPr>
          <a:xfrm>
            <a:off x="-292894" y="6094768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7B8D5A9A-0C4A-47A8-83B8-2EFA4C99A4E0}"/>
              </a:ext>
            </a:extLst>
          </p:cNvPr>
          <p:cNvSpPr txBox="1"/>
          <p:nvPr userDrawn="1"/>
        </p:nvSpPr>
        <p:spPr>
          <a:xfrm>
            <a:off x="-566738" y="6147156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7,40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5785548C-CAA3-4E4F-AE4B-228F14C62EE0}"/>
              </a:ext>
            </a:extLst>
          </p:cNvPr>
          <p:cNvCxnSpPr>
            <a:cxnSpLocks/>
          </p:cNvCxnSpPr>
          <p:nvPr userDrawn="1"/>
        </p:nvCxnSpPr>
        <p:spPr>
          <a:xfrm>
            <a:off x="-292894" y="6345379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625E4154-A280-4107-A9BB-EDC7710291FF}"/>
              </a:ext>
            </a:extLst>
          </p:cNvPr>
          <p:cNvSpPr txBox="1"/>
          <p:nvPr userDrawn="1"/>
        </p:nvSpPr>
        <p:spPr>
          <a:xfrm>
            <a:off x="-566738" y="6397767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8,10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E9A3338-48BC-479F-AEB8-992C902B85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4" y="1412876"/>
            <a:ext cx="11088686" cy="468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6838A31-5826-430D-8C02-F9E9B58F7A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477429"/>
            <a:ext cx="11088687" cy="32266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71192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0" r:id="rId2"/>
    <p:sldLayoutId id="2147483660" r:id="rId3"/>
    <p:sldLayoutId id="2147483680" r:id="rId4"/>
    <p:sldLayoutId id="2147483678" r:id="rId5"/>
    <p:sldLayoutId id="2147483681" r:id="rId6"/>
    <p:sldLayoutId id="2147483685" r:id="rId7"/>
    <p:sldLayoutId id="2147483686" r:id="rId8"/>
    <p:sldLayoutId id="2147483687" r:id="rId9"/>
    <p:sldLayoutId id="2147483689" r:id="rId10"/>
    <p:sldLayoutId id="2147483700" r:id="rId11"/>
    <p:sldLayoutId id="2147483698" r:id="rId12"/>
    <p:sldLayoutId id="2147483692" r:id="rId1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347" userDrawn="1">
          <p15:clr>
            <a:srgbClr val="F26B43"/>
          </p15:clr>
        </p15:guide>
        <p15:guide id="4" orient="horz" pos="300" userDrawn="1">
          <p15:clr>
            <a:srgbClr val="F26B43"/>
          </p15:clr>
        </p15:guide>
        <p15:guide id="5" orient="horz" pos="504" userDrawn="1">
          <p15:clr>
            <a:srgbClr val="F26B43"/>
          </p15:clr>
        </p15:guide>
        <p15:guide id="6" pos="7333" userDrawn="1">
          <p15:clr>
            <a:srgbClr val="F26B43"/>
          </p15:clr>
        </p15:guide>
        <p15:guide id="7" orient="horz" pos="890" userDrawn="1">
          <p15:clr>
            <a:srgbClr val="F26B43"/>
          </p15:clr>
        </p15:guide>
        <p15:guide id="8" orient="horz" pos="3997" userDrawn="1">
          <p15:clr>
            <a:srgbClr val="F26B43"/>
          </p15:clr>
        </p15:guide>
        <p15:guide id="9" orient="horz" pos="3838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Layout" Target="../slideLayouts/slideLayout11.xml"/><Relationship Id="rId3" Type="http://schemas.openxmlformats.org/officeDocument/2006/relationships/notesSlide" Target="../notesSlides/notesSlide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BFE861F-BC5A-4E6C-B1CC-485130A4C1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01" imgH="501" progId="TCLayout.ActiveDocument.1">
                  <p:embed/>
                </p:oleObj>
              </mc:Choice>
              <mc:Fallback>
                <p:oleObj name="think-cell Folie" r:id="rId4" imgW="501" imgH="50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BFE861F-BC5A-4E6C-B1CC-485130A4C1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3">
            <a:extLst>
              <a:ext uri="{FF2B5EF4-FFF2-40B4-BE49-F238E27FC236}">
                <a16:creationId xmlns:a16="http://schemas.microsoft.com/office/drawing/2014/main" id="{AF431F5F-13FF-58F1-6359-A9E1D553C7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7EB54C4-5BA1-244E-8126-AE0B9AFA1A15}"/>
              </a:ext>
            </a:extLst>
          </p:cNvPr>
          <p:cNvSpPr txBox="1"/>
          <p:nvPr/>
        </p:nvSpPr>
        <p:spPr>
          <a:xfrm>
            <a:off x="1842247" y="3711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e-DE" sz="1200" dirty="0" err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62E1D48-CD32-89A1-7AE3-0588A69F478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</p:spTree>
    <p:extLst>
      <p:ext uri="{BB962C8B-B14F-4D97-AF65-F5344CB8AC3E}">
        <p14:creationId xmlns:p14="http://schemas.microsoft.com/office/powerpoint/2010/main" val="3808728708"/>
      </p:ext>
    </p:extLst>
  </p:cSld>
  <p:clrMapOvr>
    <a:masterClrMapping/>
  </p:clrMapOvr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Picture Placeholder 1"/>
          <p:cNvSpPr>
            <a:spLocks noGrp="1"/>
          </p:cNvSpPr>
          <p:nvPr>
            <p:ph type="pic" idx="12" sz="quarter"/>
          </p:nvPr>
        </p:nvSpPr>
        <p:spPr/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 Presentation generated from a Jupyter Notebook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8" sz="quarter"/>
          </p:nvPr>
        </p:nvSpPr>
        <p:spPr/>
        <p:txBody>
          <a:bodyPr/>
          <a:lstStyle/>
          <a:p>
            <a:r>
              <a:t>In the initial stage of creating a presentation, we begin by importing the essential libraries, which are `pptx` and `nbformat`. The `pptx` library allows us to generate PowerPoint presentations with ease, while `nbformat` assists in managing Jupyter Notebook files. By incorporating these libraries, we can efficiently summarize large content or elaborate on specific topics, ultimately crafting an engaging and informative presentation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9" sz="quarter"/>
          </p:nvPr>
        </p:nvSpPr>
        <p:spPr/>
        <p:txBody>
          <a:bodyPr/>
          <a:lstStyle/>
          <a:p/>
        </p:txBody>
      </p:sp>
      <p:sp>
        <p:nvSpPr>
          <p:cNvPr id="4" name="Content Placeholder 3"/>
          <p:cNvSpPr>
            <a:spLocks noGrp="1"/>
          </p:cNvSpPr>
          <p:nvPr>
            <p:ph idx="20" sz="quarter"/>
          </p:nvPr>
        </p:nvSpPr>
        <p:spPr/>
        <p:txBody>
          <a:bodyPr/>
          <a:lstStyle/>
          <a:p/>
        </p:txBody>
      </p:sp>
      <p:sp>
        <p:nvSpPr>
          <p:cNvPr id="5" name="Text Placeholder 4"/>
          <p:cNvSpPr>
            <a:spLocks noGrp="1"/>
          </p:cNvSpPr>
          <p:nvPr>
            <p:ph type="body" idx="17" sz="quarter"/>
          </p:nvPr>
        </p:nvSpPr>
        <p:spPr/>
        <p:txBody>
          <a:bodyPr/>
          <a:lstStyle/>
          <a:p/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ection 1: Introduc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idx="21" sz="quarter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8" sz="quarter"/>
          </p:nvPr>
        </p:nvSpPr>
        <p:spPr/>
        <p:txBody>
          <a:bodyPr/>
          <a:lstStyle/>
          <a:p>
            <a:r>
              <a:t>Section 1: Introduction</a:t>
            </a:r>
          </a:p>
          <a:p>
            <a:r>
              <a:t>The purpose of this function is to streamline the process of converting Jupyter Notebook content into a professional PowerPoint presentation, utilizing a pre-designed template.</a:t>
            </a:r>
          </a:p>
          <a:p/>
          <a:p>
            <a:r>
              <a:t>Section 2: Defining Function Parameters</a:t>
            </a:r>
          </a:p>
          <a:p>
            <a:r>
              <a:t>To ensure a seamless conversion, it is essential to specify the input and output paths for the Jupyter Notebook, PowerPoint template, and the final presentation.</a:t>
            </a:r>
          </a:p>
          <a:p/>
          <a:p>
            <a:r>
              <a:t>Subsection 2.1: Input Paths</a:t>
            </a:r>
          </a:p>
          <a:p>
            <a:r>
              <a:t>Identify the locations of both the Jupyter Notebook and PowerPoint template files, ensuring accuracy for a smooth transformation process.</a:t>
            </a:r>
          </a:p>
          <a:p/>
          <a:p>
            <a:r>
              <a:t>Subsection 2.2: Output Path</a:t>
            </a:r>
          </a:p>
          <a:p>
            <a:r>
              <a:t>Determine the desired destination for the generated PowerPoint presentation, allowing for easy access and sharing capabilities.</a:t>
            </a:r>
          </a:p>
          <a:p/>
          <a:p>
            <a:r>
              <a:t>Section 3: Function Execution</a:t>
            </a:r>
          </a:p>
          <a:p>
            <a:r>
              <a:t>Once the paths have been defined, the function will efficiently convert the Jupyter Notebook content into a visually appealing PowerPoint presentation, ready for use in professional settings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9" sz="quarter"/>
          </p:nvPr>
        </p:nvSpPr>
        <p:spPr/>
        <p:txBody>
          <a:bodyPr/>
          <a:lstStyle/>
          <a:p/>
        </p:txBody>
      </p:sp>
      <p:sp>
        <p:nvSpPr>
          <p:cNvPr id="4" name="Content Placeholder 3"/>
          <p:cNvSpPr>
            <a:spLocks noGrp="1"/>
          </p:cNvSpPr>
          <p:nvPr>
            <p:ph idx="20" sz="quarter"/>
          </p:nvPr>
        </p:nvSpPr>
        <p:spPr/>
        <p:txBody>
          <a:bodyPr/>
          <a:lstStyle/>
          <a:p/>
        </p:txBody>
      </p:sp>
      <p:sp>
        <p:nvSpPr>
          <p:cNvPr id="5" name="Text Placeholder 4"/>
          <p:cNvSpPr>
            <a:spLocks noGrp="1"/>
          </p:cNvSpPr>
          <p:nvPr>
            <p:ph type="body" idx="17" sz="quarter"/>
          </p:nvPr>
        </p:nvSpPr>
        <p:spPr/>
        <p:txBody>
          <a:bodyPr/>
          <a:lstStyle/>
          <a:p/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ection 2: Function to create a present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idx="21" sz="quarter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8" sz="quarter"/>
          </p:nvPr>
        </p:nvSpPr>
        <p:spPr/>
        <p:txBody>
          <a:bodyPr/>
          <a:lstStyle/>
          <a:p>
            <a:r>
              <a:t>In the process of crafting an effective presentation, we utilize the previously defined function to streamline our content. This approach allows us to condense larger information sources or expand upon a given keyword, ultimately resulting in a concise and engaging paragraph that captures the essence of the topic at hand. By employing this method, we can ensure that our audience remains captivated and well-informed throughout the presentation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9" sz="quarter"/>
          </p:nvPr>
        </p:nvSpPr>
        <p:spPr/>
        <p:txBody>
          <a:bodyPr/>
          <a:lstStyle/>
          <a:p/>
        </p:txBody>
      </p:sp>
      <p:sp>
        <p:nvSpPr>
          <p:cNvPr id="4" name="Content Placeholder 3"/>
          <p:cNvSpPr>
            <a:spLocks noGrp="1"/>
          </p:cNvSpPr>
          <p:nvPr>
            <p:ph idx="20" sz="quarter"/>
          </p:nvPr>
        </p:nvSpPr>
        <p:spPr/>
        <p:txBody>
          <a:bodyPr/>
          <a:lstStyle/>
          <a:p/>
        </p:txBody>
      </p:sp>
      <p:sp>
        <p:nvSpPr>
          <p:cNvPr id="5" name="Text Placeholder 4"/>
          <p:cNvSpPr>
            <a:spLocks noGrp="1"/>
          </p:cNvSpPr>
          <p:nvPr>
            <p:ph type="body" idx="17" sz="quarter"/>
          </p:nvPr>
        </p:nvSpPr>
        <p:spPr/>
        <p:txBody>
          <a:bodyPr/>
          <a:lstStyle/>
          <a:p/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ection 3: Create the present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idx="21" sz="quarter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BENE_Master">
  <a:themeElements>
    <a:clrScheme name="Conbene">
      <a:dk1>
        <a:srgbClr val="000000"/>
      </a:dk1>
      <a:lt1>
        <a:srgbClr val="FFFFFF"/>
      </a:lt1>
      <a:dk2>
        <a:srgbClr val="1C3658"/>
      </a:dk2>
      <a:lt2>
        <a:srgbClr val="FFFFFF"/>
      </a:lt2>
      <a:accent1>
        <a:srgbClr val="1C3658"/>
      </a:accent1>
      <a:accent2>
        <a:srgbClr val="4D6D8E"/>
      </a:accent2>
      <a:accent3>
        <a:srgbClr val="85C7CE"/>
      </a:accent3>
      <a:accent4>
        <a:srgbClr val="99ABBE"/>
      </a:accent4>
      <a:accent5>
        <a:srgbClr val="7F7F7F"/>
      </a:accent5>
      <a:accent6>
        <a:srgbClr val="BFBFBF"/>
      </a:accent6>
      <a:hlink>
        <a:srgbClr val="85C7CE"/>
      </a:hlink>
      <a:folHlink>
        <a:srgbClr val="1C3658"/>
      </a:folHlink>
    </a:clrScheme>
    <a:fontScheme name="Benutzerdefiniert 3">
      <a:majorFont>
        <a:latin typeface="Raleway"/>
        <a:ea typeface=""/>
        <a:cs typeface=""/>
      </a:majorFont>
      <a:minorFont>
        <a:latin typeface="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44000" tIns="144000" rIns="144000" bIns="144000" rtlCol="0" anchor="ctr"/>
      <a:lstStyle>
        <a:defPPr algn="ctr">
          <a:defRPr sz="120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200" dirty="0" err="1" smtClean="0"/>
        </a:defPPr>
      </a:lstStyle>
    </a:txDef>
  </a:objectDefaults>
  <a:extraClrSchemeLst/>
  <a:custClrLst>
    <a:custClr name="Orange">
      <a:srgbClr val="ED834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582A6DACC844941A0C90594FC942817" ma:contentTypeVersion="16" ma:contentTypeDescription="Ein neues Dokument erstellen." ma:contentTypeScope="" ma:versionID="30b1eba04f62553f69d48e2187519133">
  <xsd:schema xmlns:xsd="http://www.w3.org/2001/XMLSchema" xmlns:xs="http://www.w3.org/2001/XMLSchema" xmlns:p="http://schemas.microsoft.com/office/2006/metadata/properties" xmlns:ns2="f909e4db-e651-40ca-8927-ef3b962a225d" xmlns:ns3="194d22ca-cb73-440e-836e-eb3950c29c17" targetNamespace="http://schemas.microsoft.com/office/2006/metadata/properties" ma:root="true" ma:fieldsID="35cc3d9bd264b5c351e6e7a8d9dceb7e" ns2:_="" ns3:_="">
    <xsd:import namespace="f909e4db-e651-40ca-8927-ef3b962a225d"/>
    <xsd:import namespace="194d22ca-cb73-440e-836e-eb3950c29c1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09e4db-e651-40ca-8927-ef3b962a22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80fe995-0e9d-490b-a416-f1a084a7a31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4d22ca-cb73-440e-836e-eb3950c29c17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84b70731-0640-4137-ae8a-64361180178d}" ma:internalName="TaxCatchAll" ma:showField="CatchAllData" ma:web="194d22ca-cb73-440e-836e-eb3950c29c1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909e4db-e651-40ca-8927-ef3b962a225d">
      <Terms xmlns="http://schemas.microsoft.com/office/infopath/2007/PartnerControls"/>
    </lcf76f155ced4ddcb4097134ff3c332f>
    <TaxCatchAll xmlns="194d22ca-cb73-440e-836e-eb3950c29c17" xsi:nil="true"/>
  </documentManagement>
</p:properties>
</file>

<file path=customXml/itemProps1.xml><?xml version="1.0" encoding="utf-8"?>
<ds:datastoreItem xmlns:ds="http://schemas.openxmlformats.org/officeDocument/2006/customXml" ds:itemID="{9F781355-8615-40E0-9FC6-E803848E594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09e4db-e651-40ca-8927-ef3b962a225d"/>
    <ds:schemaRef ds:uri="194d22ca-cb73-440e-836e-eb3950c29c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F367E84-9C21-4E8E-9110-91E0CE72212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0679FA0-EFA8-4510-9C61-F5D341E184F7}">
  <ds:schemaRefs>
    <ds:schemaRef ds:uri="http://schemas.microsoft.com/office/2006/documentManagement/types"/>
    <ds:schemaRef ds:uri="http://schemas.microsoft.com/office/infopath/2007/PartnerControls"/>
    <ds:schemaRef ds:uri="f909e4db-e651-40ca-8927-ef3b962a225d"/>
    <ds:schemaRef ds:uri="http://www.w3.org/XML/1998/namespace"/>
    <ds:schemaRef ds:uri="http://purl.org/dc/dcmitype/"/>
    <ds:schemaRef ds:uri="http://purl.org/dc/terms/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194d22ca-cb73-440e-836e-eb3950c29c17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84</TotalTime>
  <Words>1</Words>
  <Application>Microsoft Macintosh PowerPoint</Application>
  <PresentationFormat>Widescreen</PresentationFormat>
  <Paragraphs>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Raleway</vt:lpstr>
      <vt:lpstr>Symbol</vt:lpstr>
      <vt:lpstr>CONBENE_Master</vt:lpstr>
      <vt:lpstr>think-cell Foli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nastasia Trubizki</dc:creator>
  <cp:lastModifiedBy>Nils Jennissen</cp:lastModifiedBy>
  <cp:revision>284</cp:revision>
  <dcterms:created xsi:type="dcterms:W3CDTF">2019-06-20T13:37:27Z</dcterms:created>
  <dcterms:modified xsi:type="dcterms:W3CDTF">2023-06-11T18:33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82A6DACC844941A0C90594FC942817</vt:lpwstr>
  </property>
  <property fmtid="{D5CDD505-2E9C-101B-9397-08002B2CF9AE}" pid="3" name="MediaServiceImageTags">
    <vt:lpwstr/>
  </property>
</Properties>
</file>